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0.xml" ContentType="application/vnd.openxmlformats-officedocument.presentationml.tags+xml"/>
  <Override PartName="/ppt/notesSlides/notesSlide21.xml" ContentType="application/vnd.openxmlformats-officedocument.presentationml.notesSlide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tags/tag12.xml" ContentType="application/vnd.openxmlformats-officedocument.presentationml.tags+xml"/>
  <Override PartName="/ppt/notesSlides/notesSlide23.xml" ContentType="application/vnd.openxmlformats-officedocument.presentationml.notesSlide+xml"/>
  <Override PartName="/ppt/tags/tag13.xml" ContentType="application/vnd.openxmlformats-officedocument.presentationml.tags+xml"/>
  <Override PartName="/ppt/notesSlides/notesSlide24.xml" ContentType="application/vnd.openxmlformats-officedocument.presentationml.notesSlide+xml"/>
  <Override PartName="/ppt/tags/tag14.xml" ContentType="application/vnd.openxmlformats-officedocument.presentationml.tags+xml"/>
  <Override PartName="/ppt/notesSlides/notesSlide25.xml" ContentType="application/vnd.openxmlformats-officedocument.presentationml.notesSlide+xml"/>
  <Override PartName="/ppt/tags/tag15.xml" ContentType="application/vnd.openxmlformats-officedocument.presentationml.tags+xml"/>
  <Override PartName="/ppt/notesSlides/notesSlide26.xml" ContentType="application/vnd.openxmlformats-officedocument.presentationml.notesSlide+xml"/>
  <Override PartName="/ppt/tags/tag16.xml" ContentType="application/vnd.openxmlformats-officedocument.presentationml.tags+xml"/>
  <Override PartName="/ppt/notesSlides/notesSlide27.xml" ContentType="application/vnd.openxmlformats-officedocument.presentationml.notesSlide+xml"/>
  <Override PartName="/ppt/tags/tag17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18.xml" ContentType="application/vnd.openxmlformats-officedocument.presentationml.tags+xml"/>
  <Override PartName="/ppt/notesSlides/notesSlide30.xml" ContentType="application/vnd.openxmlformats-officedocument.presentationml.notesSlide+xml"/>
  <Override PartName="/ppt/tags/tag19.xml" ContentType="application/vnd.openxmlformats-officedocument.presentationml.tags+xml"/>
  <Override PartName="/ppt/notesSlides/notesSlide31.xml" ContentType="application/vnd.openxmlformats-officedocument.presentationml.notesSlide+xml"/>
  <Override PartName="/ppt/tags/tag20.xml" ContentType="application/vnd.openxmlformats-officedocument.presentationml.tags+xml"/>
  <Override PartName="/ppt/notesSlides/notesSlide32.xml" ContentType="application/vnd.openxmlformats-officedocument.presentationml.notesSlide+xml"/>
  <Override PartName="/ppt/tags/tag21.xml" ContentType="application/vnd.openxmlformats-officedocument.presentationml.tags+xml"/>
  <Override PartName="/ppt/notesSlides/notesSlide33.xml" ContentType="application/vnd.openxmlformats-officedocument.presentationml.notesSlide+xml"/>
  <Override PartName="/ppt/tags/tag22.xml" ContentType="application/vnd.openxmlformats-officedocument.presentationml.tags+xml"/>
  <Override PartName="/ppt/notesSlides/notesSlide34.xml" ContentType="application/vnd.openxmlformats-officedocument.presentationml.notesSlide+xml"/>
  <Override PartName="/ppt/tags/tag23.xml" ContentType="application/vnd.openxmlformats-officedocument.presentationml.tags+xml"/>
  <Override PartName="/ppt/notesSlides/notesSlide35.xml" ContentType="application/vnd.openxmlformats-officedocument.presentationml.notesSlide+xml"/>
  <Override PartName="/ppt/tags/tag24.xml" ContentType="application/vnd.openxmlformats-officedocument.presentationml.tags+xml"/>
  <Override PartName="/ppt/notesSlides/notesSlide36.xml" ContentType="application/vnd.openxmlformats-officedocument.presentationml.notesSlide+xml"/>
  <Override PartName="/ppt/tags/tag25.xml" ContentType="application/vnd.openxmlformats-officedocument.presentationml.tags+xml"/>
  <Override PartName="/ppt/notesSlides/notesSlide37.xml" ContentType="application/vnd.openxmlformats-officedocument.presentationml.notesSlide+xml"/>
  <Override PartName="/ppt/tags/tag26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666" r:id="rId5"/>
  </p:sldMasterIdLst>
  <p:notesMasterIdLst>
    <p:notesMasterId r:id="rId45"/>
  </p:notesMasterIdLst>
  <p:sldIdLst>
    <p:sldId id="498" r:id="rId6"/>
    <p:sldId id="429" r:id="rId7"/>
    <p:sldId id="297" r:id="rId8"/>
    <p:sldId id="418" r:id="rId9"/>
    <p:sldId id="423" r:id="rId10"/>
    <p:sldId id="486" r:id="rId11"/>
    <p:sldId id="421" r:id="rId12"/>
    <p:sldId id="422" r:id="rId13"/>
    <p:sldId id="474" r:id="rId14"/>
    <p:sldId id="475" r:id="rId15"/>
    <p:sldId id="476" r:id="rId16"/>
    <p:sldId id="478" r:id="rId17"/>
    <p:sldId id="479" r:id="rId18"/>
    <p:sldId id="435" r:id="rId19"/>
    <p:sldId id="343" r:id="rId20"/>
    <p:sldId id="492" r:id="rId21"/>
    <p:sldId id="493" r:id="rId22"/>
    <p:sldId id="494" r:id="rId23"/>
    <p:sldId id="495" r:id="rId24"/>
    <p:sldId id="496" r:id="rId25"/>
    <p:sldId id="497" r:id="rId26"/>
    <p:sldId id="348" r:id="rId27"/>
    <p:sldId id="349" r:id="rId28"/>
    <p:sldId id="376" r:id="rId29"/>
    <p:sldId id="409" r:id="rId30"/>
    <p:sldId id="377" r:id="rId31"/>
    <p:sldId id="378" r:id="rId32"/>
    <p:sldId id="445" r:id="rId33"/>
    <p:sldId id="267" r:id="rId34"/>
    <p:sldId id="262" r:id="rId35"/>
    <p:sldId id="410" r:id="rId36"/>
    <p:sldId id="411" r:id="rId37"/>
    <p:sldId id="412" r:id="rId38"/>
    <p:sldId id="482" r:id="rId39"/>
    <p:sldId id="499" r:id="rId40"/>
    <p:sldId id="491" r:id="rId41"/>
    <p:sldId id="484" r:id="rId42"/>
    <p:sldId id="485" r:id="rId43"/>
    <p:sldId id="436" r:id="rId44"/>
  </p:sldIdLst>
  <p:sldSz cx="9144000" cy="6858000" type="screen4x3"/>
  <p:notesSz cx="6735763" cy="9866313"/>
  <p:custDataLst>
    <p:tags r:id="rId46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6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CCFFCC"/>
    <a:srgbClr val="2F528F"/>
    <a:srgbClr val="007864"/>
    <a:srgbClr val="FFFF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54" autoAdjust="0"/>
    <p:restoredTop sz="96159" autoAdjust="0"/>
  </p:normalViewPr>
  <p:slideViewPr>
    <p:cSldViewPr snapToObjects="1">
      <p:cViewPr varScale="1">
        <p:scale>
          <a:sx n="102" d="100"/>
          <a:sy n="102" d="100"/>
        </p:scale>
        <p:origin x="102" y="1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80" d="100"/>
          <a:sy n="80" d="100"/>
        </p:scale>
        <p:origin x="403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3/2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394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52555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83740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724005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534" defTabSz="892586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70557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534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207948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6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356083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8900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685403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1761" algn="just" defTabSz="92235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171458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1761" algn="just" defTabSz="92235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84108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1761" algn="just" defTabSz="92235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70430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1761" algn="just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11462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7" y="4748164"/>
            <a:ext cx="5388610" cy="423705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369689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355">
              <a:defRPr/>
            </a:pPr>
            <a:fld id="{C2E67660-8B61-D34C-A3C8-957005D240BE}" type="slidenum">
              <a:rPr lang="ja-JP" altLang="en-US">
                <a:solidFill>
                  <a:prstClr val="black"/>
                </a:solidFill>
                <a:latin typeface="Yu Gothic" panose="020F0502020204030204"/>
                <a:ea typeface="Yu Gothic" panose="020B0400000000000000" pitchFamily="50" charset="-128"/>
              </a:rPr>
              <a:pPr defTabSz="922355">
                <a:defRPr/>
              </a:pPr>
              <a:t>20</a:t>
            </a:fld>
            <a:endParaRPr lang="ja-JP" altLang="en-US">
              <a:solidFill>
                <a:prstClr val="black"/>
              </a:solidFill>
              <a:latin typeface="Yu Gothic" panose="020F0502020204030204"/>
              <a:ea typeface="Yu Gothic" panose="020B0400000000000000" pitchFamily="50" charset="-128"/>
            </a:endParaRPr>
          </a:p>
        </p:txBody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57215292-D69C-4B96-A8A8-8DADDC4070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indent="90638"/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685776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6467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74651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609750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8896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667723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15877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69953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4573582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666630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123651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8196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8900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1708466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4838665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753331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703382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DB950-311C-8A64-B54A-339831EFD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8225300B-71AC-B2D1-E407-57CC94DF5D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010F1B1E-9F3C-75BF-3934-8AAB14DA98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lang="ja-JP" altLang="en-US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90D2999B-D646-21B5-827A-DC4BFF3C23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90823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7F3656-AEEC-0D15-DD6C-8E821283B1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141B4D27-83AA-C010-0414-386D2FF4BB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CDDE66D-B386-D4EF-E7D3-ED4203CBF0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lang="ja-JP" altLang="en-US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B86631F3-AFD9-B9F1-AEEA-6407094BEF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7250881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944001-D82F-E03D-6319-D87F2FB09B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45DFA610-1988-3350-03A3-396A25A5F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B50626F7-E9BD-0835-43D5-8017605437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lang="ja-JP" altLang="en-US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512D8F84-E270-5637-E4D9-811079146E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2645902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F572EC-07AC-C5AE-10A0-C6036F053E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C84D3B1E-9206-0595-07C2-073392975B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5C20293A-5C75-880C-FB12-4474A04287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781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61940071-A6EA-37E8-62FF-2FA66D8434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3950413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18AC9F-5A18-4792-6103-5356C197FE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1399EEC0-51BB-9252-B7C1-9AF035879B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9BF4A9F4-702F-4B67-4998-EECC95391F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781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E72C0DD9-2D0C-0DDF-9F15-CD9DDAEF58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0103757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128067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269419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8896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81835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4400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6" y="4748164"/>
            <a:ext cx="5631654" cy="3856889"/>
          </a:xfrm>
        </p:spPr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835934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7995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0216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3/2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角丸四角形 14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円/楕円 15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9" name="直線コネクタ 18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83538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385">
          <p15:clr>
            <a:srgbClr val="FBAE40"/>
          </p15:clr>
        </p15:guide>
        <p15:guide id="5" pos="1066">
          <p15:clr>
            <a:srgbClr val="FBAE40"/>
          </p15:clr>
        </p15:guide>
        <p15:guide id="6" pos="1180">
          <p15:clr>
            <a:srgbClr val="FBAE40"/>
          </p15:clr>
        </p15:guide>
        <p15:guide id="7" pos="1860">
          <p15:clr>
            <a:srgbClr val="FBAE40"/>
          </p15:clr>
        </p15:guide>
        <p15:guide id="8" pos="2087">
          <p15:clr>
            <a:srgbClr val="FBAE40"/>
          </p15:clr>
        </p15:guide>
        <p15:guide id="9" pos="3787">
          <p15:clr>
            <a:srgbClr val="FBAE40"/>
          </p15:clr>
        </p15:guide>
        <p15:guide id="10" pos="5375">
          <p15:clr>
            <a:srgbClr val="FBAE40"/>
          </p15:clr>
        </p15:guide>
        <p15:guide id="11" pos="5602">
          <p15:clr>
            <a:srgbClr val="FBAE40"/>
          </p15:clr>
        </p15:guide>
        <p15:guide id="12" orient="horz" pos="119">
          <p15:clr>
            <a:srgbClr val="FBAE40"/>
          </p15:clr>
        </p15:guide>
        <p15:guide id="13" orient="horz" pos="346">
          <p15:clr>
            <a:srgbClr val="FBAE40"/>
          </p15:clr>
        </p15:guide>
        <p15:guide id="14" orient="horz" pos="572">
          <p15:clr>
            <a:srgbClr val="FBAE40"/>
          </p15:clr>
        </p15:guide>
        <p15:guide id="15" orient="horz" pos="799">
          <p15:clr>
            <a:srgbClr val="FBAE40"/>
          </p15:clr>
        </p15:guide>
        <p15:guide id="16" orient="horz" pos="910">
          <p15:clr>
            <a:srgbClr val="FBAE40"/>
          </p15:clr>
        </p15:guide>
        <p15:guide id="17" orient="horz" pos="1253">
          <p15:clr>
            <a:srgbClr val="FBAE40"/>
          </p15:clr>
        </p15:guide>
        <p15:guide id="18" orient="horz" pos="1480">
          <p15:clr>
            <a:srgbClr val="FBAE40"/>
          </p15:clr>
        </p15:guide>
        <p15:guide id="19" orient="horz" pos="1706">
          <p15:clr>
            <a:srgbClr val="FBAE40"/>
          </p15:clr>
        </p15:guide>
        <p15:guide id="20" orient="horz" pos="3859">
          <p15:clr>
            <a:srgbClr val="FBAE40"/>
          </p15:clr>
        </p15:guide>
        <p15:guide id="21" orient="horz" pos="408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角丸四角形 1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9" name="円/楕円 18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2" name="直線コネクタ 21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86945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499">
          <p15:clr>
            <a:srgbClr val="FBAE40"/>
          </p15:clr>
        </p15:guide>
        <p15:guide id="4" pos="5261">
          <p15:clr>
            <a:srgbClr val="FBAE40"/>
          </p15:clr>
        </p15:guide>
        <p15:guide id="5" orient="horz" pos="346">
          <p15:clr>
            <a:srgbClr val="FBAE40"/>
          </p15:clr>
        </p15:guide>
        <p15:guide id="6" orient="horz" pos="39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5" name="直線コネクタ 14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37133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2">
          <p15:clr>
            <a:srgbClr val="FBAE40"/>
          </p15:clr>
        </p15:guide>
        <p15:guide id="2" pos="3787">
          <p15:clr>
            <a:srgbClr val="FBAE40"/>
          </p15:clr>
        </p15:guide>
        <p15:guide id="3" pos="158">
          <p15:clr>
            <a:srgbClr val="FBAE40"/>
          </p15:clr>
        </p15:guide>
        <p15:guide id="4" pos="1063">
          <p15:clr>
            <a:srgbClr val="FBAE40"/>
          </p15:clr>
        </p15:guide>
        <p15:guide id="5" pos="1180">
          <p15:clr>
            <a:srgbClr val="FBAE40"/>
          </p15:clr>
        </p15:guide>
        <p15:guide id="6" pos="385">
          <p15:clr>
            <a:srgbClr val="FBAE40"/>
          </p15:clr>
        </p15:guide>
        <p15:guide id="7" pos="2087">
          <p15:clr>
            <a:srgbClr val="FBAE40"/>
          </p15:clr>
        </p15:guide>
        <p15:guide id="8" pos="1856">
          <p15:clr>
            <a:srgbClr val="FBAE40"/>
          </p15:clr>
        </p15:guide>
        <p15:guide id="9" pos="2880">
          <p15:clr>
            <a:srgbClr val="FBAE40"/>
          </p15:clr>
        </p15:guide>
        <p15:guide id="10" pos="5375">
          <p15:clr>
            <a:srgbClr val="FBAE40"/>
          </p15:clr>
        </p15:guide>
        <p15:guide id="11" pos="5602">
          <p15:clr>
            <a:srgbClr val="FBAE40"/>
          </p15:clr>
        </p15:guide>
        <p15:guide id="12" orient="horz" pos="119">
          <p15:clr>
            <a:srgbClr val="FBAE40"/>
          </p15:clr>
        </p15:guide>
        <p15:guide id="13" orient="horz" pos="346">
          <p15:clr>
            <a:srgbClr val="FBAE40"/>
          </p15:clr>
        </p15:guide>
        <p15:guide id="14" orient="horz" pos="572">
          <p15:clr>
            <a:srgbClr val="FBAE40"/>
          </p15:clr>
        </p15:guide>
        <p15:guide id="15" orient="horz" pos="799">
          <p15:clr>
            <a:srgbClr val="FBAE40"/>
          </p15:clr>
        </p15:guide>
        <p15:guide id="16" orient="horz" pos="910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1480">
          <p15:clr>
            <a:srgbClr val="FBAE40"/>
          </p15:clr>
        </p15:guide>
        <p15:guide id="19" orient="horz" pos="1706">
          <p15:clr>
            <a:srgbClr val="FBAE40"/>
          </p15:clr>
        </p15:guide>
        <p15:guide id="20" orient="horz" pos="3861">
          <p15:clr>
            <a:srgbClr val="FBAE40"/>
          </p15:clr>
        </p15:guide>
        <p15:guide id="21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円/楕円 10"/>
          <p:cNvSpPr/>
          <p:nvPr userDrawn="1"/>
        </p:nvSpPr>
        <p:spPr>
          <a:xfrm>
            <a:off x="4392000" y="6294277"/>
            <a:ext cx="360000" cy="360000"/>
          </a:xfrm>
          <a:prstGeom prst="ellipse">
            <a:avLst/>
          </a:prstGeom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93658" y="6329997"/>
            <a:ext cx="1148956" cy="360001"/>
          </a:xfrm>
          <a:prstGeom prst="rect">
            <a:avLst/>
          </a:prstGeom>
        </p:spPr>
        <p:txBody>
          <a:bodyPr/>
          <a:lstStyle>
            <a:lvl1pPr algn="ctr">
              <a:defRPr sz="16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fld id="{3B1C07BB-6777-BE4E-9D13-23F11C0D5FE8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607794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3/2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7D68FDB4-8101-4AF3-BFAC-3D4C290735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7D68FDB4-8101-4AF3-BFAC-3D4C29073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13647" y="365126"/>
            <a:ext cx="5400000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</a:t>
            </a:r>
            <a:r>
              <a:rPr lang="ja-JP" altLang="en-US"/>
              <a:t>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35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8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kumimoji="1" sz="20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kumimoji="1" sz="16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6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40.png"/><Relationship Id="rId10" Type="http://schemas.openxmlformats.org/officeDocument/2006/relationships/image" Target="../media/image35.jpe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4.jpeg"/><Relationship Id="rId14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1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6.png"/><Relationship Id="rId11" Type="http://schemas.openxmlformats.org/officeDocument/2006/relationships/image" Target="../media/image49.png"/><Relationship Id="rId5" Type="http://schemas.openxmlformats.org/officeDocument/2006/relationships/image" Target="../media/image45.png"/><Relationship Id="rId10" Type="http://schemas.openxmlformats.org/officeDocument/2006/relationships/image" Target="../media/image48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13.xml"/><Relationship Id="rId9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hyperlink" Target="https://faq.myna.go.jp/faq/show/2587" TargetMode="Externa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4.png"/><Relationship Id="rId5" Type="http://schemas.openxmlformats.org/officeDocument/2006/relationships/hyperlink" Target="https://myna.go.jp/SCK0101_01_001/SCK0101_01_001_InitDiscsys.form" TargetMode="External"/><Relationship Id="rId4" Type="http://schemas.openxmlformats.org/officeDocument/2006/relationships/hyperlink" Target="https://www.jpki.go.jp/prepare/reader_writer.html" TargetMode="External"/><Relationship Id="rId9" Type="http://schemas.openxmlformats.org/officeDocument/2006/relationships/image" Target="../media/image5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6.jpeg"/><Relationship Id="rId4" Type="http://schemas.openxmlformats.org/officeDocument/2006/relationships/image" Target="../media/image6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hyperlink" Target="https://www.soumu.go.jp/kojinbango_card/03.html" TargetMode="External"/><Relationship Id="rId1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21" Type="http://schemas.openxmlformats.org/officeDocument/2006/relationships/image" Target="../media/image15.png"/><Relationship Id="rId7" Type="http://schemas.openxmlformats.org/officeDocument/2006/relationships/image" Target="../media/image5.emf"/><Relationship Id="rId12" Type="http://schemas.openxmlformats.org/officeDocument/2006/relationships/image" Target="../media/image10.jpeg"/><Relationship Id="rId17" Type="http://schemas.openxmlformats.org/officeDocument/2006/relationships/image" Target="../media/image13.png"/><Relationship Id="rId2" Type="http://schemas.openxmlformats.org/officeDocument/2006/relationships/tags" Target="../tags/tag4.xml"/><Relationship Id="rId16" Type="http://schemas.microsoft.com/office/2007/relationships/hdphoto" Target="../media/hdphoto1.wdp"/><Relationship Id="rId20" Type="http://schemas.microsoft.com/office/2007/relationships/hdphoto" Target="../media/hdphoto3.wdp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2.png"/><Relationship Id="rId10" Type="http://schemas.openxmlformats.org/officeDocument/2006/relationships/image" Target="../media/image8.png"/><Relationship Id="rId19" Type="http://schemas.openxmlformats.org/officeDocument/2006/relationships/image" Target="../media/image1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Relationship Id="rId1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2.png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77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7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0.jpeg"/><Relationship Id="rId12" Type="http://schemas.openxmlformats.org/officeDocument/2006/relationships/image" Target="../media/image8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82.jpe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81.jpe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87.jpe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8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9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92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9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5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0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9.png"/><Relationship Id="rId11" Type="http://schemas.openxmlformats.org/officeDocument/2006/relationships/image" Target="../media/image102.png"/><Relationship Id="rId5" Type="http://schemas.openxmlformats.org/officeDocument/2006/relationships/image" Target="../media/image98.png"/><Relationship Id="rId10" Type="http://schemas.openxmlformats.org/officeDocument/2006/relationships/image" Target="../media/image101.pn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7.jpeg"/><Relationship Id="rId5" Type="http://schemas.openxmlformats.org/officeDocument/2006/relationships/image" Target="../media/image106.png"/><Relationship Id="rId10" Type="http://schemas.openxmlformats.org/officeDocument/2006/relationships/image" Target="../media/image108.png"/><Relationship Id="rId4" Type="http://schemas.openxmlformats.org/officeDocument/2006/relationships/notesSlide" Target="../notesSlides/notesSlide33.xml"/><Relationship Id="rId9" Type="http://schemas.openxmlformats.org/officeDocument/2006/relationships/image" Target="../media/image101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21.bin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7.jpeg"/><Relationship Id="rId5" Type="http://schemas.openxmlformats.org/officeDocument/2006/relationships/image" Target="../media/image109.jpeg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1.png"/><Relationship Id="rId5" Type="http://schemas.openxmlformats.org/officeDocument/2006/relationships/image" Target="../media/image110.jpeg"/><Relationship Id="rId4" Type="http://schemas.openxmlformats.org/officeDocument/2006/relationships/notesSlide" Target="../notesSlides/notesSlide35.xml"/><Relationship Id="rId9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113.jpeg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37.xml"/><Relationship Id="rId9" Type="http://schemas.openxmlformats.org/officeDocument/2006/relationships/oleObject" Target="../embeddings/oleObject24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1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10" Type="http://schemas.openxmlformats.org/officeDocument/2006/relationships/image" Target="../media/image122.png"/><Relationship Id="rId4" Type="http://schemas.openxmlformats.org/officeDocument/2006/relationships/notesSlide" Target="../notesSlides/notesSlide38.xml"/><Relationship Id="rId9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7" Type="http://schemas.openxmlformats.org/officeDocument/2006/relationships/image" Target="../media/image12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3.png"/><Relationship Id="rId5" Type="http://schemas.openxmlformats.org/officeDocument/2006/relationships/hyperlink" Target="https://www.digital.go.jp/policies/account_registration_finance/" TargetMode="External"/><Relationship Id="rId4" Type="http://schemas.openxmlformats.org/officeDocument/2006/relationships/hyperlink" Target="https://www.digital.go.jp/policies/account_registration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4.png"/><Relationship Id="rId12" Type="http://schemas.microsoft.com/office/2007/relationships/hdphoto" Target="../media/hdphoto4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31.png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6.png"/><Relationship Id="rId1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9017" y="3902689"/>
            <a:ext cx="1552067" cy="2269793"/>
          </a:xfrm>
          <a:prstGeom prst="rect">
            <a:avLst/>
          </a:prstGeom>
        </p:spPr>
      </p:pic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000" y="196467"/>
            <a:ext cx="750231" cy="1113738"/>
          </a:xfrm>
          <a:prstGeom prst="rect">
            <a:avLst/>
          </a:prstGeom>
        </p:spPr>
      </p:pic>
      <p:pic>
        <p:nvPicPr>
          <p:cNvPr id="8" name="図 7" descr="マイキーくんのイラスト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80"/>
          <a:stretch/>
        </p:blipFill>
        <p:spPr>
          <a:xfrm>
            <a:off x="3054690" y="4410086"/>
            <a:ext cx="1720815" cy="1827226"/>
          </a:xfrm>
          <a:prstGeom prst="rect">
            <a:avLst/>
          </a:prstGeom>
        </p:spPr>
      </p:pic>
      <p:sp>
        <p:nvSpPr>
          <p:cNvPr id="2" name="角丸四角形 1"/>
          <p:cNvSpPr/>
          <p:nvPr/>
        </p:nvSpPr>
        <p:spPr>
          <a:xfrm>
            <a:off x="760559" y="1387807"/>
            <a:ext cx="7632848" cy="235319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5000"/>
              </a:lnSpc>
            </a:pPr>
            <a:r>
              <a:rPr lang="ja-JP" altLang="en-US" sz="40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を</a:t>
            </a:r>
            <a:endParaRPr lang="en-US" altLang="ja-JP" sz="40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ts val="5000"/>
              </a:lnSpc>
            </a:pPr>
            <a:r>
              <a:rPr lang="ja-JP" altLang="en-US" sz="40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健康保険証として利用しよう・</a:t>
            </a:r>
            <a:endParaRPr lang="en-US" altLang="ja-JP" sz="40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ts val="5000"/>
              </a:lnSpc>
            </a:pPr>
            <a:r>
              <a:rPr lang="ja-JP" altLang="en-US" sz="40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公金受取口座の登録をしよう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3EE9424-4F1C-4BBA-B6C7-ADBFDAA33430}"/>
              </a:ext>
            </a:extLst>
          </p:cNvPr>
          <p:cNvSpPr txBox="1"/>
          <p:nvPr/>
        </p:nvSpPr>
        <p:spPr>
          <a:xfrm>
            <a:off x="7740592" y="6077743"/>
            <a:ext cx="12959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６年２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98675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1B0512B-4A26-41DE-BBEB-94883AC564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1B0512B-4A26-41DE-BBEB-94883AC56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87747"/>
            <a:ext cx="6886822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アプリの入手 および</a:t>
            </a:r>
            <a:br>
              <a:rPr lang="en-US" altLang="ja-JP" dirty="0"/>
            </a:br>
            <a:r>
              <a:rPr lang="ja-JP" altLang="en-US" dirty="0"/>
              <a:t>インストール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37FB58B1-DAB0-433E-83F9-04BCEA067600}"/>
              </a:ext>
            </a:extLst>
          </p:cNvPr>
          <p:cNvSpPr txBox="1"/>
          <p:nvPr/>
        </p:nvSpPr>
        <p:spPr>
          <a:xfrm>
            <a:off x="5868144" y="813308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＜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＞</a:t>
            </a:r>
          </a:p>
        </p:txBody>
      </p:sp>
      <p:sp>
        <p:nvSpPr>
          <p:cNvPr id="33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60000"/>
          </a:xfrm>
        </p:spPr>
        <p:txBody>
          <a:bodyPr>
            <a:normAutofit fontScale="92500" lnSpcReduction="20000"/>
          </a:bodyPr>
          <a:lstStyle/>
          <a:p>
            <a:r>
              <a:rPr lang="ja-JP" altLang="en-US" sz="2600" dirty="0"/>
              <a:t>マイナポータルアプリ</a:t>
            </a:r>
            <a:r>
              <a:rPr lang="ja-JP" altLang="en-US" sz="1700" dirty="0"/>
              <a:t>＜デジタル庁＞</a:t>
            </a:r>
            <a:r>
              <a:rPr lang="ja-JP" altLang="en-US" sz="2600" dirty="0"/>
              <a:t>をインストールします。</a:t>
            </a:r>
          </a:p>
          <a:p>
            <a:endParaRPr lang="en-US" altLang="ja-JP" dirty="0"/>
          </a:p>
          <a:p>
            <a:endParaRPr lang="ja-JP" altLang="en-US" dirty="0"/>
          </a:p>
        </p:txBody>
      </p:sp>
      <p:pic>
        <p:nvPicPr>
          <p:cNvPr id="3" name="図 2" descr="電源が入っているスマートフォンの画面の画像">
            <a:extLst>
              <a:ext uri="{FF2B5EF4-FFF2-40B4-BE49-F238E27FC236}">
                <a16:creationId xmlns:a16="http://schemas.microsoft.com/office/drawing/2014/main" id="{704FE8F8-BA4F-6383-3DAB-B5E8A0D713F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429"/>
          <a:stretch/>
        </p:blipFill>
        <p:spPr>
          <a:xfrm>
            <a:off x="6898592" y="2798663"/>
            <a:ext cx="1718681" cy="1479593"/>
          </a:xfrm>
          <a:prstGeom prst="rect">
            <a:avLst/>
          </a:prstGeom>
        </p:spPr>
      </p:pic>
      <p:sp>
        <p:nvSpPr>
          <p:cNvPr id="8" name="四角形: 上の 2 つの角を丸める 7">
            <a:extLst>
              <a:ext uri="{FF2B5EF4-FFF2-40B4-BE49-F238E27FC236}">
                <a16:creationId xmlns:a16="http://schemas.microsoft.com/office/drawing/2014/main" id="{B7C05911-5255-16E7-460A-04DEECD696AC}"/>
              </a:ext>
            </a:extLst>
          </p:cNvPr>
          <p:cNvSpPr/>
          <p:nvPr/>
        </p:nvSpPr>
        <p:spPr>
          <a:xfrm>
            <a:off x="7058801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ACC210D-42CC-63FA-46F0-4F05C2C6CC7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95" b="54578"/>
          <a:stretch/>
        </p:blipFill>
        <p:spPr>
          <a:xfrm>
            <a:off x="7066576" y="3061782"/>
            <a:ext cx="1375852" cy="1215687"/>
          </a:xfrm>
          <a:prstGeom prst="rect">
            <a:avLst/>
          </a:prstGeom>
        </p:spPr>
      </p:pic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62773A8E-B988-8BE7-2AAA-4B12AFAB738D}"/>
              </a:ext>
            </a:extLst>
          </p:cNvPr>
          <p:cNvSpPr txBox="1"/>
          <p:nvPr/>
        </p:nvSpPr>
        <p:spPr>
          <a:xfrm>
            <a:off x="3526487" y="5611887"/>
            <a:ext cx="544431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1600" indent="-201600"/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 マイナポータルアプリ＜デジタル庁＞が見つからない場合は、</a:t>
            </a:r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OS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が</a:t>
            </a:r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iOS 14.0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以上、ブラウザが</a:t>
            </a:r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Safari 13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以上の条件を満たしていない可能性が</a:t>
            </a:r>
            <a:endParaRPr lang="en-US" altLang="ja-JP" sz="11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あります。バージョンアップしてから再度、インストールしてください。</a:t>
            </a:r>
            <a:endParaRPr lang="en-US" altLang="ja-JP" sz="11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サイトへ接続するため別途通信料がかかることがあります。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F34F9E26-9138-807F-6181-341920C4F1B3}"/>
              </a:ext>
            </a:extLst>
          </p:cNvPr>
          <p:cNvSpPr txBox="1"/>
          <p:nvPr/>
        </p:nvSpPr>
        <p:spPr>
          <a:xfrm>
            <a:off x="288293" y="1882800"/>
            <a:ext cx="39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8" name="図 17" descr="電源が入っているスマートフォンの画面の画像">
            <a:extLst>
              <a:ext uri="{FF2B5EF4-FFF2-40B4-BE49-F238E27FC236}">
                <a16:creationId xmlns:a16="http://schemas.microsoft.com/office/drawing/2014/main" id="{192373BC-99FE-F7CB-1AAB-AA66E9F8BE3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0" y="2817312"/>
            <a:ext cx="1505428" cy="2843936"/>
          </a:xfrm>
          <a:prstGeom prst="rect">
            <a:avLst/>
          </a:prstGeom>
        </p:spPr>
      </p:pic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65BFC91D-4D27-5F3D-6031-0BA85E6BB62E}"/>
              </a:ext>
            </a:extLst>
          </p:cNvPr>
          <p:cNvSpPr/>
          <p:nvPr/>
        </p:nvSpPr>
        <p:spPr>
          <a:xfrm>
            <a:off x="765443" y="4033856"/>
            <a:ext cx="343857" cy="3272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0" name="図形グループ 79">
            <a:extLst>
              <a:ext uri="{FF2B5EF4-FFF2-40B4-BE49-F238E27FC236}">
                <a16:creationId xmlns:a16="http://schemas.microsoft.com/office/drawing/2014/main" id="{43AA4574-ADB2-0956-4FA3-B8895E7BC89C}"/>
              </a:ext>
            </a:extLst>
          </p:cNvPr>
          <p:cNvGrpSpPr/>
          <p:nvPr/>
        </p:nvGrpSpPr>
        <p:grpSpPr>
          <a:xfrm>
            <a:off x="501521" y="3815804"/>
            <a:ext cx="492443" cy="461665"/>
            <a:chOff x="7516281" y="2673548"/>
            <a:chExt cx="492443" cy="461665"/>
          </a:xfrm>
        </p:grpSpPr>
        <p:sp>
          <p:nvSpPr>
            <p:cNvPr id="21" name="円/楕円 80">
              <a:extLst>
                <a:ext uri="{FF2B5EF4-FFF2-40B4-BE49-F238E27FC236}">
                  <a16:creationId xmlns:a16="http://schemas.microsoft.com/office/drawing/2014/main" id="{BD3E0C00-E654-300F-4589-DDFE568982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4E2395B1-F604-0290-987B-44A7ADC8AD6E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3" name="図 22" descr="電源が入っているスマートフォンの画面の画像">
            <a:extLst>
              <a:ext uri="{FF2B5EF4-FFF2-40B4-BE49-F238E27FC236}">
                <a16:creationId xmlns:a16="http://schemas.microsoft.com/office/drawing/2014/main" id="{6B5F4289-F204-A7CC-AFE8-F67132265A4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7784" y="2798663"/>
            <a:ext cx="1515299" cy="2862585"/>
          </a:xfrm>
          <a:prstGeom prst="roundRect">
            <a:avLst>
              <a:gd name="adj" fmla="val 20133"/>
            </a:avLst>
          </a:prstGeom>
        </p:spPr>
      </p:pic>
      <p:pic>
        <p:nvPicPr>
          <p:cNvPr id="24" name="図 23" descr="検索アイコンがある画面の画像">
            <a:extLst>
              <a:ext uri="{FF2B5EF4-FFF2-40B4-BE49-F238E27FC236}">
                <a16:creationId xmlns:a16="http://schemas.microsoft.com/office/drawing/2014/main" id="{A0C594AC-E767-B37A-7E0B-BA86C6791C1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6340" y="2924944"/>
            <a:ext cx="1201032" cy="2583944"/>
          </a:xfrm>
          <a:prstGeom prst="roundRect">
            <a:avLst>
              <a:gd name="adj" fmla="val 11133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25" name="四角形: 上の 2 つの角を丸める 24">
            <a:extLst>
              <a:ext uri="{FF2B5EF4-FFF2-40B4-BE49-F238E27FC236}">
                <a16:creationId xmlns:a16="http://schemas.microsoft.com/office/drawing/2014/main" id="{2208C298-0FF1-0D74-4D41-6AF8413AE5FE}"/>
              </a:ext>
            </a:extLst>
          </p:cNvPr>
          <p:cNvSpPr/>
          <p:nvPr/>
        </p:nvSpPr>
        <p:spPr>
          <a:xfrm rot="10800000">
            <a:off x="3096507" y="2924944"/>
            <a:ext cx="577852" cy="12083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761C5406-5F58-AF40-1563-5A76373A4684}"/>
              </a:ext>
            </a:extLst>
          </p:cNvPr>
          <p:cNvSpPr txBox="1"/>
          <p:nvPr/>
        </p:nvSpPr>
        <p:spPr>
          <a:xfrm>
            <a:off x="2503995" y="1882800"/>
            <a:ext cx="1923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　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pic>
        <p:nvPicPr>
          <p:cNvPr id="27" name="図 26">
            <a:extLst>
              <a:ext uri="{FF2B5EF4-FFF2-40B4-BE49-F238E27FC236}">
                <a16:creationId xmlns:a16="http://schemas.microsoft.com/office/drawing/2014/main" id="{FDCB872D-590B-8264-ACCC-FD103951731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2292" y="1970696"/>
            <a:ext cx="261389" cy="40042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5FF77177-993C-9553-5EB1-5FEA72E36FB6}"/>
              </a:ext>
            </a:extLst>
          </p:cNvPr>
          <p:cNvSpPr/>
          <p:nvPr/>
        </p:nvSpPr>
        <p:spPr>
          <a:xfrm>
            <a:off x="3707904" y="5301208"/>
            <a:ext cx="258254" cy="2076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0" name="図形グループ 72">
            <a:extLst>
              <a:ext uri="{FF2B5EF4-FFF2-40B4-BE49-F238E27FC236}">
                <a16:creationId xmlns:a16="http://schemas.microsoft.com/office/drawing/2014/main" id="{D234C120-57F1-CB14-EBCE-B3A561619E91}"/>
              </a:ext>
            </a:extLst>
          </p:cNvPr>
          <p:cNvGrpSpPr/>
          <p:nvPr/>
        </p:nvGrpSpPr>
        <p:grpSpPr>
          <a:xfrm>
            <a:off x="3415266" y="5047223"/>
            <a:ext cx="492443" cy="461665"/>
            <a:chOff x="7516281" y="2673548"/>
            <a:chExt cx="492443" cy="461665"/>
          </a:xfrm>
        </p:grpSpPr>
        <p:sp>
          <p:nvSpPr>
            <p:cNvPr id="31" name="円/楕円 77">
              <a:extLst>
                <a:ext uri="{FF2B5EF4-FFF2-40B4-BE49-F238E27FC236}">
                  <a16:creationId xmlns:a16="http://schemas.microsoft.com/office/drawing/2014/main" id="{C5872A37-D20F-6C09-2586-A6AE59DD1A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A9C37B0A-2D3A-6479-182D-D3F930EB93EE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4" name="図 33" descr="電源が入っているスマートフォンの画面の画像">
            <a:extLst>
              <a:ext uri="{FF2B5EF4-FFF2-40B4-BE49-F238E27FC236}">
                <a16:creationId xmlns:a16="http://schemas.microsoft.com/office/drawing/2014/main" id="{EE26B818-8C8C-5FA6-36FA-E09A0EAC8C4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429"/>
          <a:stretch/>
        </p:blipFill>
        <p:spPr>
          <a:xfrm>
            <a:off x="4669663" y="2798663"/>
            <a:ext cx="1718681" cy="1479593"/>
          </a:xfrm>
          <a:prstGeom prst="rect">
            <a:avLst/>
          </a:prstGeom>
        </p:spPr>
      </p:pic>
      <p:sp>
        <p:nvSpPr>
          <p:cNvPr id="37" name="四角形: 上の 2 つの角を丸める 36">
            <a:extLst>
              <a:ext uri="{FF2B5EF4-FFF2-40B4-BE49-F238E27FC236}">
                <a16:creationId xmlns:a16="http://schemas.microsoft.com/office/drawing/2014/main" id="{0FF9BDD2-7D3E-3B02-1FB8-85874D52A312}"/>
              </a:ext>
            </a:extLst>
          </p:cNvPr>
          <p:cNvSpPr/>
          <p:nvPr/>
        </p:nvSpPr>
        <p:spPr>
          <a:xfrm>
            <a:off x="4829872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5" descr="検索画面の画像">
            <a:extLst>
              <a:ext uri="{FF2B5EF4-FFF2-40B4-BE49-F238E27FC236}">
                <a16:creationId xmlns:a16="http://schemas.microsoft.com/office/drawing/2014/main" id="{21D6113A-EB46-76B4-B139-83EF6BC7364F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1547"/>
          <a:stretch/>
        </p:blipFill>
        <p:spPr>
          <a:xfrm>
            <a:off x="4858149" y="3043589"/>
            <a:ext cx="1329467" cy="1234667"/>
          </a:xfrm>
          <a:prstGeom prst="rect">
            <a:avLst/>
          </a:prstGeom>
          <a:ln w="9525">
            <a:noFill/>
          </a:ln>
        </p:spPr>
      </p:pic>
      <p:sp>
        <p:nvSpPr>
          <p:cNvPr id="52" name="四角形: 上の 2 つの角を丸める 51">
            <a:extLst>
              <a:ext uri="{FF2B5EF4-FFF2-40B4-BE49-F238E27FC236}">
                <a16:creationId xmlns:a16="http://schemas.microsoft.com/office/drawing/2014/main" id="{AED46FFE-7B96-5994-742D-85FB40BA42BA}"/>
              </a:ext>
            </a:extLst>
          </p:cNvPr>
          <p:cNvSpPr/>
          <p:nvPr/>
        </p:nvSpPr>
        <p:spPr>
          <a:xfrm rot="10800000">
            <a:off x="5235430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53" name="図 52" descr="電源が入っているスマートフォンの画面の画像">
            <a:extLst>
              <a:ext uri="{FF2B5EF4-FFF2-40B4-BE49-F238E27FC236}">
                <a16:creationId xmlns:a16="http://schemas.microsoft.com/office/drawing/2014/main" id="{5243E591-5134-0F1A-AA26-B2C7AC3D76A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2160"/>
          <a:stretch/>
        </p:blipFill>
        <p:spPr>
          <a:xfrm>
            <a:off x="4669663" y="4365104"/>
            <a:ext cx="1718681" cy="1228589"/>
          </a:xfrm>
          <a:prstGeom prst="rect">
            <a:avLst/>
          </a:prstGeom>
        </p:spPr>
      </p:pic>
      <p:sp>
        <p:nvSpPr>
          <p:cNvPr id="55" name="四角形: 上の 2 つの角を丸める 54">
            <a:extLst>
              <a:ext uri="{FF2B5EF4-FFF2-40B4-BE49-F238E27FC236}">
                <a16:creationId xmlns:a16="http://schemas.microsoft.com/office/drawing/2014/main" id="{CE277BCD-F665-48E6-71AE-53CB71893D65}"/>
              </a:ext>
            </a:extLst>
          </p:cNvPr>
          <p:cNvSpPr/>
          <p:nvPr/>
        </p:nvSpPr>
        <p:spPr>
          <a:xfrm>
            <a:off x="4829872" y="4489218"/>
            <a:ext cx="1375853" cy="1104475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6" name="四角形: 上の 2 つの角を丸める 55">
            <a:extLst>
              <a:ext uri="{FF2B5EF4-FFF2-40B4-BE49-F238E27FC236}">
                <a16:creationId xmlns:a16="http://schemas.microsoft.com/office/drawing/2014/main" id="{1E6AAA68-C998-6935-FDE8-0300874CB8C9}"/>
              </a:ext>
            </a:extLst>
          </p:cNvPr>
          <p:cNvSpPr/>
          <p:nvPr/>
        </p:nvSpPr>
        <p:spPr>
          <a:xfrm rot="10800000">
            <a:off x="5235430" y="448921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57" name="図 56" descr="検索画面に「マイナポータル」と入力する時の画面の画像">
            <a:extLst>
              <a:ext uri="{FF2B5EF4-FFF2-40B4-BE49-F238E27FC236}">
                <a16:creationId xmlns:a16="http://schemas.microsoft.com/office/drawing/2014/main" id="{7258D314-4E71-6DF8-97B4-81624A1C4BC0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57" b="57389"/>
          <a:stretch/>
        </p:blipFill>
        <p:spPr>
          <a:xfrm>
            <a:off x="4826217" y="4630628"/>
            <a:ext cx="1375853" cy="963065"/>
          </a:xfrm>
          <a:prstGeom prst="rect">
            <a:avLst/>
          </a:prstGeom>
          <a:ln w="9525">
            <a:noFill/>
          </a:ln>
        </p:spPr>
      </p:pic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9FF73C59-87F0-0628-A977-7B7BBBDDD31E}"/>
              </a:ext>
            </a:extLst>
          </p:cNvPr>
          <p:cNvSpPr/>
          <p:nvPr/>
        </p:nvSpPr>
        <p:spPr>
          <a:xfrm>
            <a:off x="4844283" y="3257927"/>
            <a:ext cx="1382958" cy="17595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FDF92901-DBD5-21DF-4FCE-2922E2CFF8A1}"/>
              </a:ext>
            </a:extLst>
          </p:cNvPr>
          <p:cNvSpPr/>
          <p:nvPr/>
        </p:nvSpPr>
        <p:spPr>
          <a:xfrm>
            <a:off x="4822562" y="4610029"/>
            <a:ext cx="1045582" cy="2175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1AAAF455-0033-05E5-864A-71F1B42BC755}"/>
              </a:ext>
            </a:extLst>
          </p:cNvPr>
          <p:cNvSpPr txBox="1"/>
          <p:nvPr/>
        </p:nvSpPr>
        <p:spPr>
          <a:xfrm>
            <a:off x="4139951" y="1882800"/>
            <a:ext cx="26738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ボックスを押して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マイナポータル」</a:t>
            </a:r>
            <a:endParaRPr kumimoji="1"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　と入力し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</a:t>
            </a:r>
            <a:endParaRPr kumimoji="1" lang="ja-JP" altLang="en-US" sz="1600" dirty="0"/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2C5A3ABA-081B-1844-AEB4-E512CC4C2513}"/>
              </a:ext>
            </a:extLst>
          </p:cNvPr>
          <p:cNvSpPr txBox="1"/>
          <p:nvPr/>
        </p:nvSpPr>
        <p:spPr>
          <a:xfrm>
            <a:off x="6876256" y="1882800"/>
            <a:ext cx="1960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」を押す</a:t>
            </a:r>
            <a:endParaRPr kumimoji="1" lang="ja-JP" altLang="en-US" sz="1200" dirty="0"/>
          </a:p>
        </p:txBody>
      </p:sp>
      <p:sp>
        <p:nvSpPr>
          <p:cNvPr id="64" name="四角形: 上の 2 つの角を丸める 63">
            <a:extLst>
              <a:ext uri="{FF2B5EF4-FFF2-40B4-BE49-F238E27FC236}">
                <a16:creationId xmlns:a16="http://schemas.microsoft.com/office/drawing/2014/main" id="{7909DCB4-A9A7-2799-4E4A-E1BF26ADFFF0}"/>
              </a:ext>
            </a:extLst>
          </p:cNvPr>
          <p:cNvSpPr/>
          <p:nvPr/>
        </p:nvSpPr>
        <p:spPr>
          <a:xfrm rot="10800000">
            <a:off x="7464359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66" name="直線矢印コネクタ 65">
            <a:extLst>
              <a:ext uri="{FF2B5EF4-FFF2-40B4-BE49-F238E27FC236}">
                <a16:creationId xmlns:a16="http://schemas.microsoft.com/office/drawing/2014/main" id="{95F135C4-DD40-991F-120C-DD149A6EF26F}"/>
              </a:ext>
            </a:extLst>
          </p:cNvPr>
          <p:cNvCxnSpPr/>
          <p:nvPr/>
        </p:nvCxnSpPr>
        <p:spPr>
          <a:xfrm>
            <a:off x="5508104" y="4149080"/>
            <a:ext cx="0" cy="17891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グループ化 66">
            <a:extLst>
              <a:ext uri="{FF2B5EF4-FFF2-40B4-BE49-F238E27FC236}">
                <a16:creationId xmlns:a16="http://schemas.microsoft.com/office/drawing/2014/main" id="{D39F6BE1-334E-AD4A-3C1A-3F1C3766B36B}"/>
              </a:ext>
            </a:extLst>
          </p:cNvPr>
          <p:cNvGrpSpPr/>
          <p:nvPr/>
        </p:nvGrpSpPr>
        <p:grpSpPr>
          <a:xfrm>
            <a:off x="4499992" y="2996952"/>
            <a:ext cx="492444" cy="461665"/>
            <a:chOff x="10718372" y="2977010"/>
            <a:chExt cx="492444" cy="461665"/>
          </a:xfrm>
        </p:grpSpPr>
        <p:sp>
          <p:nvSpPr>
            <p:cNvPr id="68" name="円/楕円 40">
              <a:extLst>
                <a:ext uri="{FF2B5EF4-FFF2-40B4-BE49-F238E27FC236}">
                  <a16:creationId xmlns:a16="http://schemas.microsoft.com/office/drawing/2014/main" id="{A1C6A1E1-7343-9544-9854-60B2D7D619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1" name="図形グループ 39">
              <a:extLst>
                <a:ext uri="{FF2B5EF4-FFF2-40B4-BE49-F238E27FC236}">
                  <a16:creationId xmlns:a16="http://schemas.microsoft.com/office/drawing/2014/main" id="{C1622FE6-6A13-C788-E704-2DA3EE667C24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5" name="円/楕円 44">
                <a:extLst>
                  <a:ext uri="{FF2B5EF4-FFF2-40B4-BE49-F238E27FC236}">
                    <a16:creationId xmlns:a16="http://schemas.microsoft.com/office/drawing/2014/main" id="{2AE7A920-EB14-2785-FF4D-90EAE8D0156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6" name="正方形/長方形 75">
                <a:extLst>
                  <a:ext uri="{FF2B5EF4-FFF2-40B4-BE49-F238E27FC236}">
                    <a16:creationId xmlns:a16="http://schemas.microsoft.com/office/drawing/2014/main" id="{FF5A3404-7BEB-A450-039E-3722D66A03C5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77" name="グループ化 76">
            <a:extLst>
              <a:ext uri="{FF2B5EF4-FFF2-40B4-BE49-F238E27FC236}">
                <a16:creationId xmlns:a16="http://schemas.microsoft.com/office/drawing/2014/main" id="{933A2CC4-36B5-073F-72AE-E444E5E2B8A5}"/>
              </a:ext>
            </a:extLst>
          </p:cNvPr>
          <p:cNvGrpSpPr/>
          <p:nvPr/>
        </p:nvGrpSpPr>
        <p:grpSpPr>
          <a:xfrm>
            <a:off x="4499992" y="4389496"/>
            <a:ext cx="492444" cy="461665"/>
            <a:chOff x="10718372" y="2977010"/>
            <a:chExt cx="492444" cy="461665"/>
          </a:xfrm>
        </p:grpSpPr>
        <p:sp>
          <p:nvSpPr>
            <p:cNvPr id="84" name="円/楕円 40">
              <a:extLst>
                <a:ext uri="{FF2B5EF4-FFF2-40B4-BE49-F238E27FC236}">
                  <a16:creationId xmlns:a16="http://schemas.microsoft.com/office/drawing/2014/main" id="{71A8E8FF-4C13-9EF8-58BF-5D369D3EAE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85" name="図形グループ 39">
              <a:extLst>
                <a:ext uri="{FF2B5EF4-FFF2-40B4-BE49-F238E27FC236}">
                  <a16:creationId xmlns:a16="http://schemas.microsoft.com/office/drawing/2014/main" id="{CCE84588-C75B-A89E-A5A2-B78F23749C6C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86" name="円/楕円 44">
                <a:extLst>
                  <a:ext uri="{FF2B5EF4-FFF2-40B4-BE49-F238E27FC236}">
                    <a16:creationId xmlns:a16="http://schemas.microsoft.com/office/drawing/2014/main" id="{20F52F4A-C169-40CC-68AF-53F2BBD8E3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7" name="正方形/長方形 86">
                <a:extLst>
                  <a:ext uri="{FF2B5EF4-FFF2-40B4-BE49-F238E27FC236}">
                    <a16:creationId xmlns:a16="http://schemas.microsoft.com/office/drawing/2014/main" id="{CD45BAFE-E76E-3E6F-B5D3-D381A9D42787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88" name="正方形/長方形 87">
            <a:extLst>
              <a:ext uri="{FF2B5EF4-FFF2-40B4-BE49-F238E27FC236}">
                <a16:creationId xmlns:a16="http://schemas.microsoft.com/office/drawing/2014/main" id="{A95043B6-0B8D-0A66-C870-04E31FC7DEB4}"/>
              </a:ext>
            </a:extLst>
          </p:cNvPr>
          <p:cNvSpPr/>
          <p:nvPr/>
        </p:nvSpPr>
        <p:spPr>
          <a:xfrm>
            <a:off x="8039263" y="3329934"/>
            <a:ext cx="410940" cy="2430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89" name="図形グループ 36">
            <a:extLst>
              <a:ext uri="{FF2B5EF4-FFF2-40B4-BE49-F238E27FC236}">
                <a16:creationId xmlns:a16="http://schemas.microsoft.com/office/drawing/2014/main" id="{BC4104C9-C208-621D-1445-87205FE66759}"/>
              </a:ext>
            </a:extLst>
          </p:cNvPr>
          <p:cNvGrpSpPr/>
          <p:nvPr/>
        </p:nvGrpSpPr>
        <p:grpSpPr>
          <a:xfrm>
            <a:off x="7751965" y="3140968"/>
            <a:ext cx="492443" cy="461665"/>
            <a:chOff x="7516281" y="2673548"/>
            <a:chExt cx="492443" cy="461665"/>
          </a:xfrm>
        </p:grpSpPr>
        <p:sp>
          <p:nvSpPr>
            <p:cNvPr id="90" name="円/楕円 37">
              <a:extLst>
                <a:ext uri="{FF2B5EF4-FFF2-40B4-BE49-F238E27FC236}">
                  <a16:creationId xmlns:a16="http://schemas.microsoft.com/office/drawing/2014/main" id="{AAE64C34-777E-800E-470C-BDF7F2883B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1" name="正方形/長方形 90">
              <a:extLst>
                <a:ext uri="{FF2B5EF4-FFF2-40B4-BE49-F238E27FC236}">
                  <a16:creationId xmlns:a16="http://schemas.microsoft.com/office/drawing/2014/main" id="{9C0EDE1E-4247-771E-68FE-D827BD5C9270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92" name="テキスト ボックス 91">
            <a:extLst>
              <a:ext uri="{FF2B5EF4-FFF2-40B4-BE49-F238E27FC236}">
                <a16:creationId xmlns:a16="http://schemas.microsoft.com/office/drawing/2014/main" id="{4B7D30C3-250C-C271-12CA-B0055A086C4C}"/>
              </a:ext>
            </a:extLst>
          </p:cNvPr>
          <p:cNvSpPr txBox="1"/>
          <p:nvPr/>
        </p:nvSpPr>
        <p:spPr>
          <a:xfrm>
            <a:off x="550800" y="1882800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　　「　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93" name="図 92">
            <a:extLst>
              <a:ext uri="{FF2B5EF4-FFF2-40B4-BE49-F238E27FC236}">
                <a16:creationId xmlns:a16="http://schemas.microsoft.com/office/drawing/2014/main" id="{A30E0B6C-74DC-455D-9E6C-61EC21F7071F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625" y="2553919"/>
            <a:ext cx="234277" cy="224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8504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図 29" descr="スマートフォンを使っているマイナちゃんのイラスト">
            <a:extLst>
              <a:ext uri="{FF2B5EF4-FFF2-40B4-BE49-F238E27FC236}">
                <a16:creationId xmlns:a16="http://schemas.microsoft.com/office/drawing/2014/main" id="{50E528C6-2652-4147-B2DC-D6344A5CE1B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119" y="5136167"/>
            <a:ext cx="885702" cy="1580370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297D9C16-4847-1EDF-0DF0-65ECB9F110A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26" t="24539" r="54311" b="4971"/>
          <a:stretch/>
        </p:blipFill>
        <p:spPr>
          <a:xfrm>
            <a:off x="5143062" y="2764005"/>
            <a:ext cx="1714210" cy="35013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コンピュータ が含まれている画像&#10;&#10;自動的に生成された説明">
            <a:extLst>
              <a:ext uri="{FF2B5EF4-FFF2-40B4-BE49-F238E27FC236}">
                <a16:creationId xmlns:a16="http://schemas.microsoft.com/office/drawing/2014/main" id="{0329927E-A554-B77E-D6D8-DBA34B651CC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68" b="4518"/>
          <a:stretch/>
        </p:blipFill>
        <p:spPr>
          <a:xfrm>
            <a:off x="2233970" y="2769371"/>
            <a:ext cx="1714211" cy="3295121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BD5F9A2-AAB7-DF0E-82B3-13B4715E912C}"/>
              </a:ext>
            </a:extLst>
          </p:cNvPr>
          <p:cNvSpPr txBox="1"/>
          <p:nvPr/>
        </p:nvSpPr>
        <p:spPr>
          <a:xfrm>
            <a:off x="1846640" y="1716792"/>
            <a:ext cx="245234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ポータル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「　　　」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押す</a:t>
            </a:r>
            <a:endParaRPr kumimoji="1" lang="en-US" altLang="ja-JP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4B589507-334B-E30E-AAF2-3C3A3F56604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3045" y="2089574"/>
            <a:ext cx="458343" cy="461665"/>
          </a:xfrm>
          <a:prstGeom prst="rect">
            <a:avLst/>
          </a:prstGeom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F24A27D4-C9EC-6A69-9871-ADD938424DB7}"/>
              </a:ext>
            </a:extLst>
          </p:cNvPr>
          <p:cNvSpPr/>
          <p:nvPr/>
        </p:nvSpPr>
        <p:spPr>
          <a:xfrm>
            <a:off x="5143062" y="4605410"/>
            <a:ext cx="1714210" cy="37052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5" name="図形グループ 69">
            <a:extLst>
              <a:ext uri="{FF2B5EF4-FFF2-40B4-BE49-F238E27FC236}">
                <a16:creationId xmlns:a16="http://schemas.microsoft.com/office/drawing/2014/main" id="{6E557402-5DBD-477A-8E2D-9A6366637B58}"/>
              </a:ext>
            </a:extLst>
          </p:cNvPr>
          <p:cNvGrpSpPr/>
          <p:nvPr/>
        </p:nvGrpSpPr>
        <p:grpSpPr>
          <a:xfrm>
            <a:off x="5002840" y="4174548"/>
            <a:ext cx="492443" cy="461665"/>
            <a:chOff x="7516281" y="2673548"/>
            <a:chExt cx="492443" cy="461665"/>
          </a:xfrm>
        </p:grpSpPr>
        <p:sp>
          <p:nvSpPr>
            <p:cNvPr id="16" name="円/楕円 70">
              <a:extLst>
                <a:ext uri="{FF2B5EF4-FFF2-40B4-BE49-F238E27FC236}">
                  <a16:creationId xmlns:a16="http://schemas.microsoft.com/office/drawing/2014/main" id="{F4533D0B-2BE1-914C-9A6C-407205534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BAF2954C-199E-406D-6FC4-9FD0E8C26C3A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F6B31E33-1714-51B3-AF60-FB3844AE148C}"/>
              </a:ext>
            </a:extLst>
          </p:cNvPr>
          <p:cNvSpPr txBox="1"/>
          <p:nvPr/>
        </p:nvSpPr>
        <p:spPr>
          <a:xfrm>
            <a:off x="4429730" y="1716792"/>
            <a:ext cx="254843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登録・ログイン</a:t>
            </a:r>
            <a:r>
              <a:rPr lang="ja-JP" altLang="en-US" sz="1800" b="1" spc="-750" dirty="0">
                <a:latin typeface="Meiryo" charset="-128"/>
                <a:ea typeface="Meiryo" charset="-128"/>
                <a:cs typeface="Meiryo" charset="-128"/>
              </a:rPr>
              <a:t>」　</a:t>
            </a:r>
            <a:endParaRPr lang="en-US" altLang="ja-JP" sz="1800" b="1" spc="-750" dirty="0"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-7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FF8E6E80-D9A8-1BB9-72C0-C409B8951B65}"/>
              </a:ext>
            </a:extLst>
          </p:cNvPr>
          <p:cNvSpPr/>
          <p:nvPr/>
        </p:nvSpPr>
        <p:spPr>
          <a:xfrm>
            <a:off x="2577840" y="3585710"/>
            <a:ext cx="370270" cy="3600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D106B359-B104-71FF-215A-007D8B8FCA68}"/>
              </a:ext>
            </a:extLst>
          </p:cNvPr>
          <p:cNvGrpSpPr/>
          <p:nvPr/>
        </p:nvGrpSpPr>
        <p:grpSpPr>
          <a:xfrm>
            <a:off x="2159684" y="3484085"/>
            <a:ext cx="492443" cy="461665"/>
            <a:chOff x="-1073078" y="3856872"/>
            <a:chExt cx="492443" cy="461665"/>
          </a:xfrm>
        </p:grpSpPr>
        <p:sp>
          <p:nvSpPr>
            <p:cNvPr id="21" name="楕円 20">
              <a:extLst>
                <a:ext uri="{FF2B5EF4-FFF2-40B4-BE49-F238E27FC236}">
                  <a16:creationId xmlns:a16="http://schemas.microsoft.com/office/drawing/2014/main" id="{1B184378-8A81-1E0A-184C-19B5D99AD9E4}"/>
                </a:ext>
              </a:extLst>
            </p:cNvPr>
            <p:cNvSpPr/>
            <p:nvPr/>
          </p:nvSpPr>
          <p:spPr>
            <a:xfrm>
              <a:off x="-933998" y="3925724"/>
              <a:ext cx="214281" cy="2518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C14B94C4-740A-0DF1-C1DA-FE2F11D1CE6C}"/>
                </a:ext>
              </a:extLst>
            </p:cNvPr>
            <p:cNvSpPr/>
            <p:nvPr/>
          </p:nvSpPr>
          <p:spPr>
            <a:xfrm>
              <a:off x="-1073078" y="3856872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6" name="字幕 14">
            <a:extLst>
              <a:ext uri="{FF2B5EF4-FFF2-40B4-BE49-F238E27FC236}">
                <a16:creationId xmlns:a16="http://schemas.microsoft.com/office/drawing/2014/main" id="{8068C1A0-A5E5-7C7D-8DC4-158645AC59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7099"/>
            <a:ext cx="8280000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600" dirty="0"/>
              <a:t>マイナポータルアプリへログインしましょう</a:t>
            </a:r>
            <a:endParaRPr lang="en-US" altLang="ja-JP" dirty="0"/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13E372D7-4E93-185A-11FB-8EE634911D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4F5A034-C90B-4D4F-69BB-6A78AEE5B4E0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584979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図 67">
            <a:extLst>
              <a:ext uri="{FF2B5EF4-FFF2-40B4-BE49-F238E27FC236}">
                <a16:creationId xmlns:a16="http://schemas.microsoft.com/office/drawing/2014/main" id="{682D0B15-A170-3577-EFF9-3B8AA26EC9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335"/>
          <a:stretch/>
        </p:blipFill>
        <p:spPr>
          <a:xfrm>
            <a:off x="6909428" y="2850630"/>
            <a:ext cx="1658840" cy="27347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9" name="図 68">
            <a:extLst>
              <a:ext uri="{FF2B5EF4-FFF2-40B4-BE49-F238E27FC236}">
                <a16:creationId xmlns:a16="http://schemas.microsoft.com/office/drawing/2014/main" id="{92BD9CD8-74B1-2526-BC3F-81130FC0B6A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1818" y="2850631"/>
            <a:ext cx="1434252" cy="27386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0" name="図 69">
            <a:extLst>
              <a:ext uri="{FF2B5EF4-FFF2-40B4-BE49-F238E27FC236}">
                <a16:creationId xmlns:a16="http://schemas.microsoft.com/office/drawing/2014/main" id="{97B3CBAF-BA79-1DB8-5701-FE434562492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580" y="2961562"/>
            <a:ext cx="1671046" cy="3051474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54FCC149-02CB-9984-EC63-A6DAF632ECB9}"/>
              </a:ext>
            </a:extLst>
          </p:cNvPr>
          <p:cNvSpPr txBox="1"/>
          <p:nvPr/>
        </p:nvSpPr>
        <p:spPr>
          <a:xfrm>
            <a:off x="2186697" y="3125822"/>
            <a:ext cx="2907360" cy="1648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マイナンバーカードを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市区町村の窓口で受け取った際に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利用者証明用電子証明書に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設定した数字</a:t>
            </a: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4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桁のパスワード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パスワードは、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回連続して間違えると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ロックがかかるので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ご注意ください</a:t>
            </a:r>
            <a:endParaRPr kumimoji="1" lang="ja-JP" altLang="en-US" sz="1400" dirty="0"/>
          </a:p>
        </p:txBody>
      </p:sp>
      <p:sp>
        <p:nvSpPr>
          <p:cNvPr id="21" name="字幕 6">
            <a:extLst>
              <a:ext uri="{FF2B5EF4-FFF2-40B4-BE49-F238E27FC236}">
                <a16:creationId xmlns:a16="http://schemas.microsoft.com/office/drawing/2014/main" id="{EB11F688-D71F-8BE6-4C66-1769029674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472" y="1412776"/>
            <a:ext cx="8280000" cy="396000"/>
          </a:xfrm>
        </p:spPr>
        <p:txBody>
          <a:bodyPr>
            <a:normAutofit fontScale="92500"/>
          </a:bodyPr>
          <a:lstStyle/>
          <a:p>
            <a:r>
              <a:rPr lang="ja-JP" altLang="en-US" dirty="0"/>
              <a:t>マイナンバーカードの</a:t>
            </a:r>
            <a:r>
              <a:rPr lang="ja-JP" altLang="en-US" dirty="0">
                <a:solidFill>
                  <a:srgbClr val="0070C0"/>
                </a:solidFill>
              </a:rPr>
              <a:t>利用者証明用電子証明書</a:t>
            </a:r>
            <a:r>
              <a:rPr lang="en-US" altLang="ja-JP" baseline="30000" dirty="0"/>
              <a:t>※</a:t>
            </a:r>
            <a:r>
              <a:rPr lang="ja-JP" altLang="en-US" dirty="0"/>
              <a:t>の認証です。</a:t>
            </a:r>
          </a:p>
          <a:p>
            <a:endParaRPr lang="ja-JP" altLang="en-US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468CAC53-D209-14D7-F2F2-47201A1F873A}"/>
              </a:ext>
            </a:extLst>
          </p:cNvPr>
          <p:cNvSpPr txBox="1"/>
          <p:nvPr/>
        </p:nvSpPr>
        <p:spPr>
          <a:xfrm>
            <a:off x="6434470" y="5745450"/>
            <a:ext cx="9500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　　　　</a:t>
            </a:r>
            <a:endParaRPr kumimoji="1"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ードの読取</a:t>
            </a:r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毎のカードの位置</a:t>
            </a:r>
            <a:endParaRPr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85CA6861-82A5-3ABB-75C7-DA3A14DCA6DE}"/>
              </a:ext>
            </a:extLst>
          </p:cNvPr>
          <p:cNvSpPr txBox="1"/>
          <p:nvPr/>
        </p:nvSpPr>
        <p:spPr>
          <a:xfrm>
            <a:off x="5377223" y="5549170"/>
            <a:ext cx="10953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android</a:t>
            </a:r>
          </a:p>
          <a:p>
            <a:pPr algn="ctr"/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</a:t>
            </a:r>
            <a:endParaRPr kumimoji="1" lang="ja-JP" altLang="en-US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24" name="図 23" descr="iPhone機種のマイナンバーカード読み取りのQRコード">
            <a:extLst>
              <a:ext uri="{FF2B5EF4-FFF2-40B4-BE49-F238E27FC236}">
                <a16:creationId xmlns:a16="http://schemas.microsoft.com/office/drawing/2014/main" id="{247B45C7-7325-3554-1373-A15797FB0A7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6421" y="5844151"/>
            <a:ext cx="600442" cy="600442"/>
          </a:xfrm>
          <a:prstGeom prst="rect">
            <a:avLst/>
          </a:prstGeom>
        </p:spPr>
      </p:pic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F0062727-CC7F-7021-C2DE-DF8778BA3A3F}"/>
              </a:ext>
            </a:extLst>
          </p:cNvPr>
          <p:cNvSpPr txBox="1"/>
          <p:nvPr/>
        </p:nvSpPr>
        <p:spPr>
          <a:xfrm>
            <a:off x="7552715" y="5687222"/>
            <a:ext cx="9500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iPhone</a:t>
            </a:r>
            <a:endParaRPr kumimoji="1" lang="ja-JP" altLang="en-US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8" name="矢印: 右 27">
            <a:extLst>
              <a:ext uri="{FF2B5EF4-FFF2-40B4-BE49-F238E27FC236}">
                <a16:creationId xmlns:a16="http://schemas.microsoft.com/office/drawing/2014/main" id="{D6EDAD2D-E461-DFEF-FC5F-61D0098B208C}"/>
              </a:ext>
            </a:extLst>
          </p:cNvPr>
          <p:cNvSpPr/>
          <p:nvPr/>
        </p:nvSpPr>
        <p:spPr>
          <a:xfrm>
            <a:off x="7308822" y="6064101"/>
            <a:ext cx="160018" cy="1332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9" name="矢印: 左 28">
            <a:extLst>
              <a:ext uri="{FF2B5EF4-FFF2-40B4-BE49-F238E27FC236}">
                <a16:creationId xmlns:a16="http://schemas.microsoft.com/office/drawing/2014/main" id="{286AA4EF-89A4-FC18-1A45-BB7910441B1A}"/>
              </a:ext>
            </a:extLst>
          </p:cNvPr>
          <p:cNvSpPr/>
          <p:nvPr/>
        </p:nvSpPr>
        <p:spPr>
          <a:xfrm>
            <a:off x="6276319" y="6064102"/>
            <a:ext cx="172064" cy="13328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16C55F05-EF91-3DA7-4531-5035CE41F617}"/>
              </a:ext>
            </a:extLst>
          </p:cNvPr>
          <p:cNvSpPr txBox="1"/>
          <p:nvPr/>
        </p:nvSpPr>
        <p:spPr>
          <a:xfrm>
            <a:off x="2181493" y="4797152"/>
            <a:ext cx="24999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/>
            <a:r>
              <a:rPr kumimoji="1"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ご自身で入力してください。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代理の方による入力は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行わない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ください。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2D4063B2-CFF3-DA5C-5148-46EB3B0F48BA}"/>
              </a:ext>
            </a:extLst>
          </p:cNvPr>
          <p:cNvSpPr/>
          <p:nvPr/>
        </p:nvSpPr>
        <p:spPr>
          <a:xfrm>
            <a:off x="483581" y="3467501"/>
            <a:ext cx="1671046" cy="32555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976174E8-B807-75FD-C557-E8D6B0281D2E}"/>
              </a:ext>
            </a:extLst>
          </p:cNvPr>
          <p:cNvSpPr txBox="1"/>
          <p:nvPr/>
        </p:nvSpPr>
        <p:spPr>
          <a:xfrm>
            <a:off x="1595493" y="1738582"/>
            <a:ext cx="77621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b="1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000" b="1" dirty="0">
                <a:solidFill>
                  <a:srgbClr val="0070C0"/>
                </a:solidFill>
                <a:latin typeface="Meiryo" charset="-128"/>
                <a:ea typeface="Meiryo" charset="-128"/>
                <a:cs typeface="Meiryo" charset="-128"/>
              </a:rPr>
              <a:t>利用者証明用電子証明書</a:t>
            </a:r>
            <a:r>
              <a:rPr kumimoji="1" lang="ja-JP" altLang="en-US" sz="1000" b="1" dirty="0">
                <a:latin typeface="Meiryo" charset="-128"/>
                <a:ea typeface="Meiryo" charset="-128"/>
                <a:cs typeface="Meiryo" charset="-128"/>
              </a:rPr>
              <a:t>は、マイナンバーカードに搭載されている、インターネットのウェブサイト等にログインする際に</a:t>
            </a:r>
            <a:endParaRPr kumimoji="1" lang="en-US" altLang="ja-JP" sz="1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kumimoji="1" lang="ja-JP" altLang="en-US" sz="1000" b="1" dirty="0">
                <a:latin typeface="Meiryo" charset="-128"/>
                <a:ea typeface="Meiryo" charset="-128"/>
                <a:cs typeface="Meiryo" charset="-128"/>
              </a:rPr>
              <a:t>利用する電子証明書です。「ログインした者が、利用者本人であること」を証明することができます。</a:t>
            </a:r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9EB6075D-50AC-1265-E335-7295486A32B7}"/>
              </a:ext>
            </a:extLst>
          </p:cNvPr>
          <p:cNvSpPr/>
          <p:nvPr/>
        </p:nvSpPr>
        <p:spPr>
          <a:xfrm>
            <a:off x="162412" y="3125172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8" name="図 57" descr="Android機種のマイナンバーカード読み取りのQRコード">
            <a:extLst>
              <a:ext uri="{FF2B5EF4-FFF2-40B4-BE49-F238E27FC236}">
                <a16:creationId xmlns:a16="http://schemas.microsoft.com/office/drawing/2014/main" id="{B5C5CF5B-C3CA-73F8-BA4A-FFDB845B961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8975" y="5856184"/>
            <a:ext cx="562432" cy="562432"/>
          </a:xfrm>
          <a:prstGeom prst="rect">
            <a:avLst/>
          </a:prstGeom>
        </p:spPr>
      </p:pic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154F03ED-DC30-12DE-E614-EE703713494A}"/>
              </a:ext>
            </a:extLst>
          </p:cNvPr>
          <p:cNvSpPr txBox="1"/>
          <p:nvPr/>
        </p:nvSpPr>
        <p:spPr>
          <a:xfrm>
            <a:off x="210638" y="2114552"/>
            <a:ext cx="3808942" cy="624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>
              <a:lnSpc>
                <a:spcPct val="900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400" b="1" dirty="0">
                <a:solidFill>
                  <a:srgbClr val="0070C0"/>
                </a:solidFill>
                <a:latin typeface="Meiryo" charset="-128"/>
                <a:ea typeface="Meiryo" charset="-128"/>
                <a:cs typeface="Meiryo" charset="-128"/>
              </a:rPr>
              <a:t>利用者証明用電子証明書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lnSpc>
                <a:spcPct val="90000"/>
              </a:lnSpc>
            </a:pP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　　パスワー</a:t>
            </a:r>
            <a:r>
              <a:rPr lang="ja-JP" altLang="en-US" sz="1400" b="1" spc="-1000" dirty="0">
                <a:latin typeface="Meiryo" charset="-128"/>
                <a:ea typeface="Meiryo" charset="-128"/>
                <a:cs typeface="Meiryo" charset="-128"/>
              </a:rPr>
              <a:t>ド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（数字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ケタ</a:t>
            </a:r>
            <a:r>
              <a:rPr lang="ja-JP" altLang="en-US" sz="1400" b="1" spc="-10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4184D1EE-F591-EB72-22F1-46A9A51D0574}"/>
              </a:ext>
            </a:extLst>
          </p:cNvPr>
          <p:cNvSpPr txBox="1"/>
          <p:nvPr/>
        </p:nvSpPr>
        <p:spPr>
          <a:xfrm>
            <a:off x="3133681" y="2099565"/>
            <a:ext cx="2240928" cy="624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>
              <a:lnSpc>
                <a:spcPct val="900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「読み取り開始」を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lnSpc>
                <a:spcPct val="90000"/>
              </a:lnSpc>
            </a:pP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　　押す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61" name="直線矢印コネクタ 60">
            <a:extLst>
              <a:ext uri="{FF2B5EF4-FFF2-40B4-BE49-F238E27FC236}">
                <a16:creationId xmlns:a16="http://schemas.microsoft.com/office/drawing/2014/main" id="{EFA48DCC-88D1-7806-D122-E7732E8648D1}"/>
              </a:ext>
            </a:extLst>
          </p:cNvPr>
          <p:cNvCxnSpPr>
            <a:cxnSpLocks/>
          </p:cNvCxnSpPr>
          <p:nvPr/>
        </p:nvCxnSpPr>
        <p:spPr>
          <a:xfrm>
            <a:off x="6504252" y="4309911"/>
            <a:ext cx="311615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図形グループ 25">
            <a:extLst>
              <a:ext uri="{FF2B5EF4-FFF2-40B4-BE49-F238E27FC236}">
                <a16:creationId xmlns:a16="http://schemas.microsoft.com/office/drawing/2014/main" id="{28AC8E44-9EF6-5881-A089-394511532C4E}"/>
              </a:ext>
            </a:extLst>
          </p:cNvPr>
          <p:cNvGrpSpPr/>
          <p:nvPr/>
        </p:nvGrpSpPr>
        <p:grpSpPr>
          <a:xfrm>
            <a:off x="6711081" y="2779827"/>
            <a:ext cx="492444" cy="461665"/>
            <a:chOff x="7516280" y="2673548"/>
            <a:chExt cx="492444" cy="461665"/>
          </a:xfrm>
        </p:grpSpPr>
        <p:sp>
          <p:nvSpPr>
            <p:cNvPr id="66" name="円/楕円 26">
              <a:extLst>
                <a:ext uri="{FF2B5EF4-FFF2-40B4-BE49-F238E27FC236}">
                  <a16:creationId xmlns:a16="http://schemas.microsoft.com/office/drawing/2014/main" id="{5B5E3D40-A759-9B12-6944-890CF5E666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正方形/長方形 66">
              <a:extLst>
                <a:ext uri="{FF2B5EF4-FFF2-40B4-BE49-F238E27FC236}">
                  <a16:creationId xmlns:a16="http://schemas.microsoft.com/office/drawing/2014/main" id="{D1101D81-FDAE-6014-7BFE-C7BCDECF832C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72" name="正方形/長方形 71">
            <a:extLst>
              <a:ext uri="{FF2B5EF4-FFF2-40B4-BE49-F238E27FC236}">
                <a16:creationId xmlns:a16="http://schemas.microsoft.com/office/drawing/2014/main" id="{EE7B2DB0-84B0-87F3-CBE8-4F615B6B3B9C}"/>
              </a:ext>
            </a:extLst>
          </p:cNvPr>
          <p:cNvSpPr/>
          <p:nvPr/>
        </p:nvSpPr>
        <p:spPr>
          <a:xfrm>
            <a:off x="4971142" y="5228360"/>
            <a:ext cx="1395547" cy="3405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0" name="図形グループ 45">
            <a:extLst>
              <a:ext uri="{FF2B5EF4-FFF2-40B4-BE49-F238E27FC236}">
                <a16:creationId xmlns:a16="http://schemas.microsoft.com/office/drawing/2014/main" id="{8A4ACA3B-909C-72E3-0A8E-AF8FCF87F666}"/>
              </a:ext>
            </a:extLst>
          </p:cNvPr>
          <p:cNvGrpSpPr/>
          <p:nvPr/>
        </p:nvGrpSpPr>
        <p:grpSpPr>
          <a:xfrm>
            <a:off x="4710703" y="4951051"/>
            <a:ext cx="492443" cy="461665"/>
            <a:chOff x="7516281" y="2673548"/>
            <a:chExt cx="492443" cy="461665"/>
          </a:xfrm>
        </p:grpSpPr>
        <p:sp>
          <p:nvSpPr>
            <p:cNvPr id="51" name="円/楕円 47">
              <a:extLst>
                <a:ext uri="{FF2B5EF4-FFF2-40B4-BE49-F238E27FC236}">
                  <a16:creationId xmlns:a16="http://schemas.microsoft.com/office/drawing/2014/main" id="{5EFFF2A8-DA70-8719-B76F-8483685385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C2032283-AB0C-23E0-E3BD-BFA54EC73AD1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2CDEBF10-826A-71BD-85CD-671B5BA565E5}"/>
              </a:ext>
            </a:extLst>
          </p:cNvPr>
          <p:cNvSpPr txBox="1"/>
          <p:nvPr/>
        </p:nvSpPr>
        <p:spPr>
          <a:xfrm>
            <a:off x="5268207" y="2058771"/>
            <a:ext cx="3729038" cy="761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「読み取りが完了しました」が表示されるまで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　　マイナンバーカードをスマートフォン裏面に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　　密着させる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23D215B5-BE7C-182D-E66C-F32046C931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E39408D-3B53-288B-61E7-B32D133EDF27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97370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図 71">
            <a:extLst>
              <a:ext uri="{FF2B5EF4-FFF2-40B4-BE49-F238E27FC236}">
                <a16:creationId xmlns:a16="http://schemas.microsoft.com/office/drawing/2014/main" id="{750FBE19-E810-EAC2-8F0D-3BD4320CD7C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485" b="9348"/>
          <a:stretch/>
        </p:blipFill>
        <p:spPr>
          <a:xfrm>
            <a:off x="6736669" y="2917526"/>
            <a:ext cx="1883340" cy="32577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3" name="図 72">
            <a:extLst>
              <a:ext uri="{FF2B5EF4-FFF2-40B4-BE49-F238E27FC236}">
                <a16:creationId xmlns:a16="http://schemas.microsoft.com/office/drawing/2014/main" id="{DF330FD3-CEB6-025C-4BCF-CC698A5518F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" t="11523" r="-310" b="10097"/>
          <a:stretch/>
        </p:blipFill>
        <p:spPr>
          <a:xfrm>
            <a:off x="4664937" y="2917526"/>
            <a:ext cx="1914928" cy="32612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8" name="図 57">
            <a:extLst>
              <a:ext uri="{FF2B5EF4-FFF2-40B4-BE49-F238E27FC236}">
                <a16:creationId xmlns:a16="http://schemas.microsoft.com/office/drawing/2014/main" id="{53A38F0E-A9F1-0552-CA05-AE57EEAA86C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3452" b="8608"/>
          <a:stretch/>
        </p:blipFill>
        <p:spPr>
          <a:xfrm>
            <a:off x="2575099" y="2917526"/>
            <a:ext cx="1933033" cy="32651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1" name="図 70" descr="テキスト, 手紙&#10;&#10;自動的に生成された説明">
            <a:extLst>
              <a:ext uri="{FF2B5EF4-FFF2-40B4-BE49-F238E27FC236}">
                <a16:creationId xmlns:a16="http://schemas.microsoft.com/office/drawing/2014/main" id="{8F925A7C-EAB7-3F34-0583-9567B9FAAA3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37" b="9715"/>
          <a:stretch/>
        </p:blipFill>
        <p:spPr>
          <a:xfrm>
            <a:off x="502379" y="2917526"/>
            <a:ext cx="1915915" cy="326511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F245D726-E943-43FF-B9FB-B0F36C96FF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F245D726-E943-43FF-B9FB-B0F36C96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96000"/>
          </a:xfrm>
        </p:spPr>
        <p:txBody>
          <a:bodyPr>
            <a:normAutofit lnSpcReduction="10000"/>
          </a:bodyPr>
          <a:lstStyle/>
          <a:p>
            <a:r>
              <a:rPr lang="ja-JP" altLang="en-US" dirty="0"/>
              <a:t>はじめてログインする方は利用者登録が必要です。</a:t>
            </a:r>
          </a:p>
          <a:p>
            <a:endParaRPr lang="ja-JP" altLang="en-US" dirty="0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BE44D13A-8772-A0AE-E3AF-4E8FDDCBBF94}"/>
              </a:ext>
            </a:extLst>
          </p:cNvPr>
          <p:cNvSpPr txBox="1"/>
          <p:nvPr/>
        </p:nvSpPr>
        <p:spPr>
          <a:xfrm>
            <a:off x="288293" y="1882800"/>
            <a:ext cx="39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BD8C73D-433E-3858-9B6D-078BE53AD6FE}"/>
              </a:ext>
            </a:extLst>
          </p:cNvPr>
          <p:cNvSpPr txBox="1"/>
          <p:nvPr/>
        </p:nvSpPr>
        <p:spPr>
          <a:xfrm>
            <a:off x="2503995" y="1882800"/>
            <a:ext cx="19239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確認コードを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送信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3451D5C-C27A-6641-8128-FD7581AEE6BC}"/>
              </a:ext>
            </a:extLst>
          </p:cNvPr>
          <p:cNvSpPr txBox="1"/>
          <p:nvPr/>
        </p:nvSpPr>
        <p:spPr>
          <a:xfrm>
            <a:off x="4286708" y="1882800"/>
            <a:ext cx="27688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確認コード」を入力し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 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利用者登録する次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 押す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A2AE78D1-570D-CF6A-5A66-31521CAD8C96}"/>
              </a:ext>
            </a:extLst>
          </p:cNvPr>
          <p:cNvSpPr txBox="1"/>
          <p:nvPr/>
        </p:nvSpPr>
        <p:spPr>
          <a:xfrm>
            <a:off x="6876256" y="1882800"/>
            <a:ext cx="1960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登録」を押す</a:t>
            </a:r>
            <a:endParaRPr kumimoji="1" lang="ja-JP" altLang="en-US" sz="1200" dirty="0"/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D3DA9DAF-ECFA-D2FB-8309-4556D53465CF}"/>
              </a:ext>
            </a:extLst>
          </p:cNvPr>
          <p:cNvSpPr txBox="1"/>
          <p:nvPr/>
        </p:nvSpPr>
        <p:spPr>
          <a:xfrm>
            <a:off x="550800" y="1882800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メール通知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の選択と、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メールアドレス」を入力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3B030470-6531-4FE4-1659-55B9BEBB6AFE}"/>
              </a:ext>
            </a:extLst>
          </p:cNvPr>
          <p:cNvSpPr/>
          <p:nvPr/>
        </p:nvSpPr>
        <p:spPr>
          <a:xfrm>
            <a:off x="523991" y="3905684"/>
            <a:ext cx="1878401" cy="17319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7" name="図形グループ 67">
            <a:extLst>
              <a:ext uri="{FF2B5EF4-FFF2-40B4-BE49-F238E27FC236}">
                <a16:creationId xmlns:a16="http://schemas.microsoft.com/office/drawing/2014/main" id="{54C0FB86-07C3-CB9D-CD55-6E1523319589}"/>
              </a:ext>
            </a:extLst>
          </p:cNvPr>
          <p:cNvGrpSpPr/>
          <p:nvPr/>
        </p:nvGrpSpPr>
        <p:grpSpPr>
          <a:xfrm>
            <a:off x="365799" y="3607985"/>
            <a:ext cx="296587" cy="293005"/>
            <a:chOff x="2897417" y="3995693"/>
            <a:chExt cx="296587" cy="293005"/>
          </a:xfrm>
        </p:grpSpPr>
        <p:sp>
          <p:nvSpPr>
            <p:cNvPr id="28" name="円/楕円 68">
              <a:extLst>
                <a:ext uri="{FF2B5EF4-FFF2-40B4-BE49-F238E27FC236}">
                  <a16:creationId xmlns:a16="http://schemas.microsoft.com/office/drawing/2014/main" id="{2A315B74-B494-545C-2308-D8FD89189965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1B35DE12-9EAC-6746-6F47-1C6B9CBCFAB5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5C805726-8057-B5FF-C7E5-2740D5E6C918}"/>
              </a:ext>
            </a:extLst>
          </p:cNvPr>
          <p:cNvSpPr/>
          <p:nvPr/>
        </p:nvSpPr>
        <p:spPr>
          <a:xfrm>
            <a:off x="2573938" y="5494723"/>
            <a:ext cx="1907750" cy="36510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1" name="図形グループ 64">
            <a:extLst>
              <a:ext uri="{FF2B5EF4-FFF2-40B4-BE49-F238E27FC236}">
                <a16:creationId xmlns:a16="http://schemas.microsoft.com/office/drawing/2014/main" id="{E734F9E9-2E41-75F3-BA51-273DA481B5D0}"/>
              </a:ext>
            </a:extLst>
          </p:cNvPr>
          <p:cNvGrpSpPr/>
          <p:nvPr/>
        </p:nvGrpSpPr>
        <p:grpSpPr>
          <a:xfrm>
            <a:off x="2436934" y="5221868"/>
            <a:ext cx="296586" cy="293005"/>
            <a:chOff x="3546641" y="3995693"/>
            <a:chExt cx="296586" cy="293005"/>
          </a:xfrm>
        </p:grpSpPr>
        <p:sp>
          <p:nvSpPr>
            <p:cNvPr id="42" name="円/楕円 65">
              <a:extLst>
                <a:ext uri="{FF2B5EF4-FFF2-40B4-BE49-F238E27FC236}">
                  <a16:creationId xmlns:a16="http://schemas.microsoft.com/office/drawing/2014/main" id="{768E2E4A-8959-A98E-AE9A-4B60673CD2BE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4" name="フリーフォーム 66">
              <a:extLst>
                <a:ext uri="{FF2B5EF4-FFF2-40B4-BE49-F238E27FC236}">
                  <a16:creationId xmlns:a16="http://schemas.microsoft.com/office/drawing/2014/main" id="{94A1228F-634E-9CF9-1304-03032D23E6F7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A36E42B0-B580-BDF3-BE23-A8362B3038BD}"/>
              </a:ext>
            </a:extLst>
          </p:cNvPr>
          <p:cNvSpPr/>
          <p:nvPr/>
        </p:nvSpPr>
        <p:spPr>
          <a:xfrm>
            <a:off x="4647803" y="4039935"/>
            <a:ext cx="1932061" cy="3926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7" name="図形グループ 61">
            <a:extLst>
              <a:ext uri="{FF2B5EF4-FFF2-40B4-BE49-F238E27FC236}">
                <a16:creationId xmlns:a16="http://schemas.microsoft.com/office/drawing/2014/main" id="{BDFD386F-92A0-64CD-FA69-16F1DD5BEBE3}"/>
              </a:ext>
            </a:extLst>
          </p:cNvPr>
          <p:cNvGrpSpPr/>
          <p:nvPr/>
        </p:nvGrpSpPr>
        <p:grpSpPr>
          <a:xfrm>
            <a:off x="4576286" y="3748945"/>
            <a:ext cx="296586" cy="293005"/>
            <a:chOff x="4232441" y="3995693"/>
            <a:chExt cx="296586" cy="293005"/>
          </a:xfrm>
        </p:grpSpPr>
        <p:sp>
          <p:nvSpPr>
            <p:cNvPr id="48" name="円/楕円 62">
              <a:extLst>
                <a:ext uri="{FF2B5EF4-FFF2-40B4-BE49-F238E27FC236}">
                  <a16:creationId xmlns:a16="http://schemas.microsoft.com/office/drawing/2014/main" id="{164E876E-F805-01DB-53CF-8A1DA28B8A2A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1" name="フリーフォーム 63">
              <a:extLst>
                <a:ext uri="{FF2B5EF4-FFF2-40B4-BE49-F238E27FC236}">
                  <a16:creationId xmlns:a16="http://schemas.microsoft.com/office/drawing/2014/main" id="{F9333F4C-CF72-C2AC-FFA8-6ED50DC232FF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B6A72C1B-5C39-45F3-D17B-1D642525BBEC}"/>
              </a:ext>
            </a:extLst>
          </p:cNvPr>
          <p:cNvSpPr/>
          <p:nvPr/>
        </p:nvSpPr>
        <p:spPr>
          <a:xfrm>
            <a:off x="4664936" y="5244978"/>
            <a:ext cx="1914929" cy="3926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D355AB39-918C-93EA-E8D2-8C89243ADED3}"/>
              </a:ext>
            </a:extLst>
          </p:cNvPr>
          <p:cNvSpPr/>
          <p:nvPr/>
        </p:nvSpPr>
        <p:spPr>
          <a:xfrm>
            <a:off x="6731553" y="5275296"/>
            <a:ext cx="1883340" cy="29159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5" name="図形グループ 58">
            <a:extLst>
              <a:ext uri="{FF2B5EF4-FFF2-40B4-BE49-F238E27FC236}">
                <a16:creationId xmlns:a16="http://schemas.microsoft.com/office/drawing/2014/main" id="{D19A7766-14AB-D66C-4F80-9E6BC5C135EC}"/>
              </a:ext>
            </a:extLst>
          </p:cNvPr>
          <p:cNvGrpSpPr/>
          <p:nvPr/>
        </p:nvGrpSpPr>
        <p:grpSpPr>
          <a:xfrm>
            <a:off x="6667285" y="4951973"/>
            <a:ext cx="296586" cy="293005"/>
            <a:chOff x="5101121" y="3995693"/>
            <a:chExt cx="296586" cy="293005"/>
          </a:xfrm>
        </p:grpSpPr>
        <p:sp>
          <p:nvSpPr>
            <p:cNvPr id="56" name="円/楕円 59">
              <a:extLst>
                <a:ext uri="{FF2B5EF4-FFF2-40B4-BE49-F238E27FC236}">
                  <a16:creationId xmlns:a16="http://schemas.microsoft.com/office/drawing/2014/main" id="{BC4820AB-F1F0-D638-DAF5-1F8ACCD35279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60">
              <a:extLst>
                <a:ext uri="{FF2B5EF4-FFF2-40B4-BE49-F238E27FC236}">
                  <a16:creationId xmlns:a16="http://schemas.microsoft.com/office/drawing/2014/main" id="{C64434B8-121B-3C5D-058F-D7E04D030E99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" name="タイトル 1">
            <a:extLst>
              <a:ext uri="{FF2B5EF4-FFF2-40B4-BE49-F238E27FC236}">
                <a16:creationId xmlns:a16="http://schemas.microsoft.com/office/drawing/2014/main" id="{5E9D8391-F9B3-A321-573C-E6BE6D8E6D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FFE16E3-62C8-B4C6-64DA-32C9D9177738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6226259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6750566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に関する確認サイト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14147" y="1407095"/>
            <a:ext cx="7265286" cy="1655762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マイナポータルを利用するための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スマートフォン機種</a:t>
            </a:r>
            <a:r>
              <a:rPr lang="ja-JP" altLang="en-US" spc="-1000" dirty="0"/>
              <a:t>、</a:t>
            </a:r>
            <a:r>
              <a:rPr lang="ja-JP" altLang="en-US" dirty="0"/>
              <a:t>ＩＣカードリーダーなど</a:t>
            </a:r>
            <a:r>
              <a:rPr lang="ja-JP" altLang="en-US" spc="-1000" dirty="0"/>
              <a:t>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動作環境や操作方法</a:t>
            </a:r>
            <a:r>
              <a:rPr lang="ja-JP" altLang="en-US" spc="-1000" dirty="0"/>
              <a:t>、</a:t>
            </a:r>
            <a:r>
              <a:rPr lang="ja-JP" altLang="en-US" dirty="0"/>
              <a:t>またマイナポータルの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最新情報などは</a:t>
            </a:r>
            <a:r>
              <a:rPr lang="ja-JP" altLang="en-US" spc="-1000" dirty="0"/>
              <a:t>、</a:t>
            </a:r>
            <a:r>
              <a:rPr lang="ja-JP" altLang="en-US" dirty="0"/>
              <a:t>以下のサイトをご参照ください。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en-US" altLang="ja-JP" sz="8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en-US" sz="2000" kern="100" dirty="0"/>
              <a:t>①</a:t>
            </a:r>
            <a:r>
              <a:rPr lang="ja-JP" altLang="ja-JP" sz="2000" kern="100" dirty="0"/>
              <a:t>マイナポータル対</a:t>
            </a:r>
            <a:r>
              <a:rPr lang="ja-JP" altLang="ja-JP" sz="2000" kern="100" spc="-1000" dirty="0"/>
              <a:t>応</a:t>
            </a:r>
            <a:r>
              <a:rPr lang="ja-JP" altLang="en-US" sz="2000" kern="100" dirty="0"/>
              <a:t>（マイナンバーカード読取対応</a:t>
            </a:r>
            <a:r>
              <a:rPr lang="ja-JP" altLang="en-US" sz="2000" kern="100" spc="-1000" dirty="0"/>
              <a:t>）</a:t>
            </a:r>
            <a:r>
              <a:rPr lang="ja-JP" altLang="en-US" sz="2000" kern="100" dirty="0"/>
              <a:t>の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en-US" sz="2000" kern="100" dirty="0"/>
              <a:t>　</a:t>
            </a:r>
            <a:r>
              <a:rPr lang="ja-JP" altLang="ja-JP" sz="2000" kern="100" dirty="0"/>
              <a:t>スマートフォン</a:t>
            </a:r>
            <a:r>
              <a:rPr lang="ja-JP" altLang="en-US" sz="2000" kern="100" dirty="0"/>
              <a:t>の</a:t>
            </a:r>
            <a:r>
              <a:rPr lang="ja-JP" altLang="ja-JP" sz="2000" kern="100" dirty="0"/>
              <a:t>機種一覧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ja-JP" altLang="ja-JP" sz="5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3"/>
              </a:rPr>
              <a:t>https://faq.myna.go.jp/faq/show/2587</a:t>
            </a:r>
            <a:endParaRPr lang="en-US" altLang="ja-JP" sz="12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ja-JP" altLang="en-US" sz="2000" kern="100" dirty="0"/>
              <a:t>②</a:t>
            </a:r>
            <a:r>
              <a:rPr lang="ja-JP" altLang="ja-JP" sz="2000" kern="100" dirty="0"/>
              <a:t>マ</a:t>
            </a:r>
            <a:r>
              <a:rPr lang="ja-JP" altLang="en-US" sz="2000" kern="100" dirty="0"/>
              <a:t>イ</a:t>
            </a:r>
            <a:r>
              <a:rPr lang="ja-JP" altLang="ja-JP" sz="2000" kern="100" dirty="0"/>
              <a:t>ナンバーカード</a:t>
            </a:r>
            <a:r>
              <a:rPr lang="ja-JP" altLang="en-US" sz="2000" kern="100" dirty="0"/>
              <a:t>読取</a:t>
            </a:r>
            <a:r>
              <a:rPr lang="ja-JP" altLang="ja-JP" sz="2000" kern="100" dirty="0"/>
              <a:t>対応</a:t>
            </a:r>
            <a:r>
              <a:rPr lang="ja-JP" altLang="en-US" sz="2000" kern="100" dirty="0"/>
              <a:t>の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en-US" sz="2000" kern="100" dirty="0"/>
              <a:t>　</a:t>
            </a:r>
            <a:r>
              <a:rPr lang="ja-JP" altLang="ja-JP" sz="2000" kern="100" dirty="0"/>
              <a:t>ＩＣカードリーダ</a:t>
            </a:r>
            <a:r>
              <a:rPr lang="ja-JP" altLang="en-US" sz="2000" kern="100" dirty="0"/>
              <a:t>ーの</a:t>
            </a:r>
            <a:r>
              <a:rPr lang="ja-JP" altLang="ja-JP" sz="2000" kern="100" dirty="0"/>
              <a:t>一覧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ja-JP" altLang="ja-JP" sz="5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hlinkClick r:id="rId4"/>
              </a:rPr>
              <a:t>https://www.jpki.go.jp/prepare/reader_writer.html</a:t>
            </a:r>
            <a:endParaRPr lang="en-US" altLang="ja-JP" sz="12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1200" kern="100" dirty="0"/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ja-JP" altLang="en-US" sz="2000" kern="100" dirty="0"/>
              <a:t>③</a:t>
            </a:r>
            <a:r>
              <a:rPr lang="ja-JP" altLang="ja-JP" sz="2000" kern="100" dirty="0"/>
              <a:t>マイナポータル総合サイト</a:t>
            </a:r>
            <a:endParaRPr lang="en-US" altLang="ja-JP" sz="2000" kern="100" dirty="0"/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ja-JP" altLang="ja-JP" sz="5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u="sng" kern="100" dirty="0">
                <a:hlinkClick r:id="rId5"/>
              </a:rPr>
              <a:t>https://myna.go.jp/</a:t>
            </a:r>
            <a:endParaRPr lang="ja-JP" altLang="ja-JP" sz="1200" kern="1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pic>
        <p:nvPicPr>
          <p:cNvPr id="8" name="図 7" descr="マイナポータル対応（マイナンバーカード読取対応）のスマートフォンの機種一覧のQRコード">
            <a:extLst>
              <a:ext uri="{FF2B5EF4-FFF2-40B4-BE49-F238E27FC236}">
                <a16:creationId xmlns:a16="http://schemas.microsoft.com/office/drawing/2014/main" id="{96C2BA6B-372B-4C4B-9CEE-182F10DD40C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363" y="3184959"/>
            <a:ext cx="1060854" cy="1060854"/>
          </a:xfrm>
          <a:prstGeom prst="rect">
            <a:avLst/>
          </a:prstGeom>
        </p:spPr>
      </p:pic>
      <p:pic>
        <p:nvPicPr>
          <p:cNvPr id="9" name="図 8" descr="マイナンバーカード読取対応のＩＣカードリーダーの一覧のQRコード">
            <a:extLst>
              <a:ext uri="{FF2B5EF4-FFF2-40B4-BE49-F238E27FC236}">
                <a16:creationId xmlns:a16="http://schemas.microsoft.com/office/drawing/2014/main" id="{8C0B0497-AFFA-44F2-9563-670EADF6AA5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435" y="3906685"/>
            <a:ext cx="1060854" cy="1060854"/>
          </a:xfrm>
          <a:prstGeom prst="rect">
            <a:avLst/>
          </a:prstGeom>
        </p:spPr>
      </p:pic>
      <p:pic>
        <p:nvPicPr>
          <p:cNvPr id="10" name="図 9" descr="マイナポータル総合サイトのQRコード">
            <a:extLst>
              <a:ext uri="{FF2B5EF4-FFF2-40B4-BE49-F238E27FC236}">
                <a16:creationId xmlns:a16="http://schemas.microsoft.com/office/drawing/2014/main" id="{65CF9E1A-41AB-4C5B-AD69-E050732E43A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419" y="5159281"/>
            <a:ext cx="1060854" cy="1060854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3586EDF5-E5D3-4D00-9D12-5D98D1C909D8}"/>
              </a:ext>
            </a:extLst>
          </p:cNvPr>
          <p:cNvSpPr txBox="1"/>
          <p:nvPr/>
        </p:nvSpPr>
        <p:spPr>
          <a:xfrm>
            <a:off x="1770127" y="6054219"/>
            <a:ext cx="540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9200" indent="-169200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QR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コードを読み取ると、該当する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します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3842056-70B1-8F0F-BE94-0582EB0E46D1}"/>
              </a:ext>
            </a:extLst>
          </p:cNvPr>
          <p:cNvSpPr txBox="1"/>
          <p:nvPr/>
        </p:nvSpPr>
        <p:spPr>
          <a:xfrm>
            <a:off x="177335" y="3000293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①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6705A886-9143-4A95-B3A8-AAD23D6C97F4}"/>
              </a:ext>
            </a:extLst>
          </p:cNvPr>
          <p:cNvSpPr txBox="1"/>
          <p:nvPr/>
        </p:nvSpPr>
        <p:spPr>
          <a:xfrm>
            <a:off x="6804248" y="3840431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②</a:t>
            </a:r>
            <a:endParaRPr kumimoji="1" lang="ja-JP" altLang="en-US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163D4607-5FF8-D461-E08C-D243DB5532D5}"/>
              </a:ext>
            </a:extLst>
          </p:cNvPr>
          <p:cNvSpPr txBox="1"/>
          <p:nvPr/>
        </p:nvSpPr>
        <p:spPr>
          <a:xfrm>
            <a:off x="6804248" y="5159281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③</a:t>
            </a:r>
            <a:endParaRPr kumimoji="1" lang="ja-JP" altLang="en-US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4" name="図 13" descr="マイナちゃんのイラスト">
            <a:extLst>
              <a:ext uri="{FF2B5EF4-FFF2-40B4-BE49-F238E27FC236}">
                <a16:creationId xmlns:a16="http://schemas.microsoft.com/office/drawing/2014/main" id="{DFAA0363-1274-43F1-B557-2D939F4509A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006"/>
          <a:stretch/>
        </p:blipFill>
        <p:spPr>
          <a:xfrm>
            <a:off x="365794" y="4430479"/>
            <a:ext cx="1187992" cy="1537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54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9054" y="311581"/>
            <a:ext cx="7123426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健康保険証利用の登録を</a:t>
            </a:r>
            <a:br>
              <a:rPr lang="en-US" altLang="ja-JP" sz="4800" dirty="0">
                <a:solidFill>
                  <a:srgbClr val="009650"/>
                </a:solidFill>
              </a:rPr>
            </a:br>
            <a:r>
              <a:rPr lang="ja-JP" altLang="en-US" sz="4800" dirty="0">
                <a:solidFill>
                  <a:srgbClr val="009650"/>
                </a:solidFill>
              </a:rPr>
              <a:t>しましょう</a:t>
            </a:r>
          </a:p>
        </p:txBody>
      </p:sp>
      <p:pic>
        <p:nvPicPr>
          <p:cNvPr id="5" name="図 4" descr="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470" y="4062146"/>
            <a:ext cx="1282700" cy="1875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417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53993" y="332656"/>
            <a:ext cx="6647974" cy="878702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マイナンバーカードを健康保険証として</a:t>
            </a:r>
            <a:br>
              <a:rPr lang="en-US" altLang="ja-JP" sz="2800" dirty="0"/>
            </a:br>
            <a:r>
              <a:rPr lang="ja-JP" altLang="en-US" sz="2800" dirty="0"/>
              <a:t>使うとなにがいいの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3F041F63-E74E-4258-A64A-23FC6B313E3E}"/>
              </a:ext>
            </a:extLst>
          </p:cNvPr>
          <p:cNvSpPr txBox="1"/>
          <p:nvPr/>
        </p:nvSpPr>
        <p:spPr>
          <a:xfrm>
            <a:off x="366311" y="1404717"/>
            <a:ext cx="74943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❶ </a:t>
            </a:r>
            <a:r>
              <a:rPr kumimoji="1" lang="ja-JP" altLang="en-US" sz="28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より良い医療を受けられる</a:t>
            </a:r>
            <a:r>
              <a:rPr lang="en-US" altLang="ja-JP" sz="28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!</a:t>
            </a:r>
            <a:endParaRPr kumimoji="1" lang="ja-JP" altLang="en-US" sz="28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74" name="図 73" descr="医者と患者のイラスト">
            <a:extLst>
              <a:ext uri="{FF2B5EF4-FFF2-40B4-BE49-F238E27FC236}">
                <a16:creationId xmlns:a16="http://schemas.microsoft.com/office/drawing/2014/main" id="{1C1BDACB-3F3E-4AC3-ABB8-6267A2E98FE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434"/>
          <a:stretch/>
        </p:blipFill>
        <p:spPr>
          <a:xfrm>
            <a:off x="6670217" y="4610611"/>
            <a:ext cx="954086" cy="1757151"/>
          </a:xfrm>
          <a:prstGeom prst="rect">
            <a:avLst/>
          </a:prstGeom>
          <a:ln>
            <a:noFill/>
          </a:ln>
        </p:spPr>
      </p:pic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F0C64FB-A056-C182-B0B7-C1C8413DBCED}"/>
              </a:ext>
            </a:extLst>
          </p:cNvPr>
          <p:cNvSpPr txBox="1"/>
          <p:nvPr/>
        </p:nvSpPr>
        <p:spPr>
          <a:xfrm>
            <a:off x="574171" y="1980826"/>
            <a:ext cx="8100347" cy="2106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+mn-ea"/>
                <a:cs typeface="Meiryo" charset="-128"/>
              </a:rPr>
              <a:t>過去の診療や処方された薬剤、特定健診等の結果の提供にご本人が同意すれば、初めての医療機関・薬局でも、ご自身の健康に関する様々な情報がマイナポータルを通じて自動で連携され、口頭で説明する必要なく、情報に基づいた総合的な診断や、重複する投薬を回避したより適切な処方を受けることができます。</a:t>
            </a: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69A7917D-2867-4C09-8848-997855836F50}"/>
              </a:ext>
            </a:extLst>
          </p:cNvPr>
          <p:cNvGrpSpPr/>
          <p:nvPr/>
        </p:nvGrpSpPr>
        <p:grpSpPr>
          <a:xfrm>
            <a:off x="2375510" y="4404823"/>
            <a:ext cx="4110498" cy="1870073"/>
            <a:chOff x="2526575" y="4404823"/>
            <a:chExt cx="4110498" cy="1870073"/>
          </a:xfrm>
        </p:grpSpPr>
        <p:sp>
          <p:nvSpPr>
            <p:cNvPr id="10" name="矢印: 右 9">
              <a:extLst>
                <a:ext uri="{FF2B5EF4-FFF2-40B4-BE49-F238E27FC236}">
                  <a16:creationId xmlns:a16="http://schemas.microsoft.com/office/drawing/2014/main" id="{24BB657F-F77B-16D7-4C09-CF742CF5B354}"/>
                </a:ext>
              </a:extLst>
            </p:cNvPr>
            <p:cNvSpPr/>
            <p:nvPr/>
          </p:nvSpPr>
          <p:spPr>
            <a:xfrm>
              <a:off x="6071132" y="5374837"/>
              <a:ext cx="565941" cy="484632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2E02C609-4937-4001-ACE0-B79F09A8A589}"/>
                </a:ext>
              </a:extLst>
            </p:cNvPr>
            <p:cNvSpPr/>
            <p:nvPr/>
          </p:nvSpPr>
          <p:spPr>
            <a:xfrm>
              <a:off x="2526575" y="5489187"/>
              <a:ext cx="631203" cy="25593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13" name="図 12" descr="マイナちゃんのイラスト">
              <a:extLst>
                <a:ext uri="{FF2B5EF4-FFF2-40B4-BE49-F238E27FC236}">
                  <a16:creationId xmlns:a16="http://schemas.microsoft.com/office/drawing/2014/main" id="{0DCA3D67-8227-4B11-857B-53FE1F5BC8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47749" y="4404823"/>
              <a:ext cx="634130" cy="927372"/>
            </a:xfrm>
            <a:prstGeom prst="rect">
              <a:avLst/>
            </a:prstGeom>
          </p:spPr>
        </p:pic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D668C335-ED62-AA1F-7B5B-0598F833E884}"/>
                </a:ext>
              </a:extLst>
            </p:cNvPr>
            <p:cNvSpPr txBox="1"/>
            <p:nvPr/>
          </p:nvSpPr>
          <p:spPr>
            <a:xfrm>
              <a:off x="2910532" y="5074567"/>
              <a:ext cx="3239990" cy="120032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・過去の診療情報</a:t>
              </a:r>
              <a:endParaRPr kumimoji="1"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・処方された薬の情報</a:t>
              </a:r>
              <a:endPara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・メタボ検診（</a:t>
              </a:r>
              <a:r>
                <a:rPr kumimoji="1" lang="en-US" altLang="ja-JP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40</a:t>
              </a:r>
              <a:r>
                <a: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～</a:t>
              </a:r>
              <a:r>
                <a:rPr kumimoji="1" lang="en-US" altLang="ja-JP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74</a:t>
              </a:r>
              <a:r>
                <a: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歳）</a:t>
              </a:r>
              <a:endParaRPr kumimoji="1"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・高齢者検診（</a:t>
              </a:r>
              <a:r>
                <a:rPr lang="en-US" altLang="ja-JP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75</a:t>
              </a:r>
              <a:r>
                <a:rPr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歳以上）等</a:t>
              </a:r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pic>
        <p:nvPicPr>
          <p:cNvPr id="11" name="図 10" descr="パソコンと薬のイラスト">
            <a:extLst>
              <a:ext uri="{FF2B5EF4-FFF2-40B4-BE49-F238E27FC236}">
                <a16:creationId xmlns:a16="http://schemas.microsoft.com/office/drawing/2014/main" id="{DE276F0D-8F8D-3A75-776B-F8653FE65F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064"/>
          <a:stretch/>
        </p:blipFill>
        <p:spPr>
          <a:xfrm>
            <a:off x="7507794" y="4428476"/>
            <a:ext cx="1024646" cy="857097"/>
          </a:xfrm>
          <a:prstGeom prst="rect">
            <a:avLst/>
          </a:prstGeom>
          <a:ln>
            <a:noFill/>
          </a:ln>
        </p:spPr>
      </p:pic>
      <p:pic>
        <p:nvPicPr>
          <p:cNvPr id="12" name="図 11" descr="医者と患者のイラスト">
            <a:extLst>
              <a:ext uri="{FF2B5EF4-FFF2-40B4-BE49-F238E27FC236}">
                <a16:creationId xmlns:a16="http://schemas.microsoft.com/office/drawing/2014/main" id="{06477722-4751-4DB6-B4C6-7784388A1C1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454"/>
          <a:stretch/>
        </p:blipFill>
        <p:spPr>
          <a:xfrm>
            <a:off x="1248167" y="4512450"/>
            <a:ext cx="797510" cy="2012894"/>
          </a:xfrm>
          <a:prstGeom prst="rect">
            <a:avLst/>
          </a:prstGeom>
          <a:ln>
            <a:noFill/>
          </a:ln>
        </p:spPr>
      </p:pic>
      <p:grpSp>
        <p:nvGrpSpPr>
          <p:cNvPr id="26" name="グループ化 25">
            <a:extLst>
              <a:ext uri="{FF2B5EF4-FFF2-40B4-BE49-F238E27FC236}">
                <a16:creationId xmlns:a16="http://schemas.microsoft.com/office/drawing/2014/main" id="{F29ED356-2AA8-4E78-9E46-5344EC2C48F7}"/>
              </a:ext>
            </a:extLst>
          </p:cNvPr>
          <p:cNvGrpSpPr/>
          <p:nvPr/>
        </p:nvGrpSpPr>
        <p:grpSpPr>
          <a:xfrm>
            <a:off x="1822263" y="4087369"/>
            <a:ext cx="3239990" cy="756953"/>
            <a:chOff x="1822263" y="4087369"/>
            <a:chExt cx="3239990" cy="756953"/>
          </a:xfrm>
        </p:grpSpPr>
        <p:sp>
          <p:nvSpPr>
            <p:cNvPr id="8" name="吹き出し: 円形 7">
              <a:extLst>
                <a:ext uri="{FF2B5EF4-FFF2-40B4-BE49-F238E27FC236}">
                  <a16:creationId xmlns:a16="http://schemas.microsoft.com/office/drawing/2014/main" id="{19356E72-8D5C-44D5-8425-90D45A4FD327}"/>
                </a:ext>
              </a:extLst>
            </p:cNvPr>
            <p:cNvSpPr/>
            <p:nvPr/>
          </p:nvSpPr>
          <p:spPr>
            <a:xfrm>
              <a:off x="1822263" y="4087369"/>
              <a:ext cx="3239990" cy="756953"/>
            </a:xfrm>
            <a:prstGeom prst="wedgeEllipseCallout">
              <a:avLst>
                <a:gd name="adj1" fmla="val 41925"/>
                <a:gd name="adj2" fmla="val 67268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891C3E7A-A0B0-4C41-A227-98080809386E}"/>
                </a:ext>
              </a:extLst>
            </p:cNvPr>
            <p:cNvSpPr txBox="1"/>
            <p:nvPr/>
          </p:nvSpPr>
          <p:spPr>
            <a:xfrm>
              <a:off x="2267977" y="4242761"/>
              <a:ext cx="222849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旅行先や災害時でも</a:t>
              </a:r>
              <a:endParaRPr kumimoji="1"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薬剤情報等が確認できて安心</a:t>
              </a:r>
              <a:r>
                <a:rPr kumimoji="1" lang="en-US" altLang="ja-JP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!</a:t>
              </a:r>
              <a:endParaRPr kumimoji="1"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</p:txBody>
        </p:sp>
      </p:grp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77754F43-BB78-4C83-8D50-B06A1C0D75AB}"/>
              </a:ext>
            </a:extLst>
          </p:cNvPr>
          <p:cNvCxnSpPr>
            <a:cxnSpLocks/>
          </p:cNvCxnSpPr>
          <p:nvPr/>
        </p:nvCxnSpPr>
        <p:spPr>
          <a:xfrm>
            <a:off x="2856905" y="2734435"/>
            <a:ext cx="3629103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FBCE0933-0015-4F16-AC9B-C13A300B6CE9}"/>
              </a:ext>
            </a:extLst>
          </p:cNvPr>
          <p:cNvCxnSpPr>
            <a:cxnSpLocks/>
          </p:cNvCxnSpPr>
          <p:nvPr/>
        </p:nvCxnSpPr>
        <p:spPr>
          <a:xfrm>
            <a:off x="3457985" y="3140968"/>
            <a:ext cx="4402671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94D674AA-C346-43FE-BD3E-68684D51B14C}"/>
              </a:ext>
            </a:extLst>
          </p:cNvPr>
          <p:cNvCxnSpPr>
            <a:cxnSpLocks/>
          </p:cNvCxnSpPr>
          <p:nvPr/>
        </p:nvCxnSpPr>
        <p:spPr>
          <a:xfrm>
            <a:off x="579235" y="3573016"/>
            <a:ext cx="3200677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03DF5407-A655-42D6-82FA-E61FA66FEA62}"/>
              </a:ext>
            </a:extLst>
          </p:cNvPr>
          <p:cNvCxnSpPr>
            <a:cxnSpLocks/>
          </p:cNvCxnSpPr>
          <p:nvPr/>
        </p:nvCxnSpPr>
        <p:spPr>
          <a:xfrm>
            <a:off x="3437484" y="3977476"/>
            <a:ext cx="5094956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9569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D0A7FEF-64B8-2204-F843-C9C5C98E8704}"/>
              </a:ext>
            </a:extLst>
          </p:cNvPr>
          <p:cNvSpPr txBox="1"/>
          <p:nvPr/>
        </p:nvSpPr>
        <p:spPr>
          <a:xfrm>
            <a:off x="340127" y="1371343"/>
            <a:ext cx="84282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手続きなしで限度額以上の支払いが不要に！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pic>
        <p:nvPicPr>
          <p:cNvPr id="79" name="図 78" descr="紙の健康保険証に✕が付いているイラストとマイナンバーカードの見本のイラスト">
            <a:extLst>
              <a:ext uri="{FF2B5EF4-FFF2-40B4-BE49-F238E27FC236}">
                <a16:creationId xmlns:a16="http://schemas.microsoft.com/office/drawing/2014/main" id="{CCFE65CA-C72B-4AC2-A160-76BB509588E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C8BFE7"/>
              </a:clrFrom>
              <a:clrTo>
                <a:srgbClr val="C8BFE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7" t="674" r="55642" b="549"/>
          <a:stretch/>
        </p:blipFill>
        <p:spPr>
          <a:xfrm>
            <a:off x="4700729" y="5521160"/>
            <a:ext cx="1377022" cy="1263704"/>
          </a:xfrm>
          <a:prstGeom prst="rect">
            <a:avLst/>
          </a:prstGeom>
          <a:ln>
            <a:noFill/>
          </a:ln>
        </p:spPr>
      </p:pic>
      <p:sp>
        <p:nvSpPr>
          <p:cNvPr id="9" name="タイトル 1">
            <a:extLst>
              <a:ext uri="{FF2B5EF4-FFF2-40B4-BE49-F238E27FC236}">
                <a16:creationId xmlns:a16="http://schemas.microsoft.com/office/drawing/2014/main" id="{0D5B4405-1999-AA8C-BA16-A7D8E45308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3993" y="332656"/>
            <a:ext cx="6647974" cy="878702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マイナンバーカードを健康保険証として</a:t>
            </a:r>
            <a:br>
              <a:rPr lang="en-US" altLang="ja-JP" sz="2800" dirty="0"/>
            </a:br>
            <a:r>
              <a:rPr lang="ja-JP" altLang="en-US" sz="2800" dirty="0"/>
              <a:t>使うとなにがいいの？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6064DD85-9454-A614-6D97-6F3280EA889B}"/>
              </a:ext>
            </a:extLst>
          </p:cNvPr>
          <p:cNvSpPr txBox="1"/>
          <p:nvPr/>
        </p:nvSpPr>
        <p:spPr>
          <a:xfrm>
            <a:off x="380662" y="1922370"/>
            <a:ext cx="8463746" cy="2433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i="0" dirty="0">
                <a:effectLst/>
                <a:latin typeface="+mn-ea"/>
              </a:rPr>
              <a:t>高額療養費制度とは？</a:t>
            </a:r>
            <a:endParaRPr lang="en-US" altLang="ja-JP" sz="2200" b="1" i="0" dirty="0">
              <a:effectLst/>
              <a:latin typeface="+mn-ea"/>
            </a:endParaRPr>
          </a:p>
          <a:p>
            <a:pPr marL="444500" indent="-263525">
              <a:lnSpc>
                <a:spcPct val="120000"/>
              </a:lnSpc>
            </a:pPr>
            <a:r>
              <a:rPr lang="ja-JP" altLang="en-US" sz="2000" b="1" i="0" dirty="0">
                <a:effectLst/>
                <a:latin typeface="+mn-ea"/>
              </a:rPr>
              <a:t>→</a:t>
            </a:r>
            <a:r>
              <a:rPr lang="en-US" altLang="ja-JP" sz="2000" b="1" i="0" dirty="0">
                <a:effectLst/>
                <a:latin typeface="+mn-ea"/>
              </a:rPr>
              <a:t>1</a:t>
            </a:r>
            <a:r>
              <a:rPr lang="ja-JP" altLang="en-US" sz="2000" b="1" i="0" dirty="0">
                <a:effectLst/>
                <a:latin typeface="+mn-ea"/>
              </a:rPr>
              <a:t>ヶ月間に医療機関や薬局で支払った金額が高額になった場合、一定の限度額以上はお金が払戻される制度です。</a:t>
            </a:r>
            <a:endParaRPr lang="en-US" altLang="ja-JP" sz="2000" b="1" i="0" dirty="0">
              <a:effectLst/>
              <a:latin typeface="+mn-ea"/>
            </a:endParaRPr>
          </a:p>
          <a:p>
            <a:pPr marL="265113" indent="-265113">
              <a:lnSpc>
                <a:spcPct val="120000"/>
              </a:lnSpc>
            </a:pPr>
            <a:endParaRPr lang="en-US" altLang="ja-JP" sz="2200" b="1" i="0" dirty="0">
              <a:effectLst/>
              <a:latin typeface="+mn-ea"/>
            </a:endParaRPr>
          </a:p>
          <a:p>
            <a:pPr marL="265113" indent="-265113">
              <a:lnSpc>
                <a:spcPct val="120000"/>
              </a:lnSpc>
            </a:pPr>
            <a:endParaRPr lang="en-US" altLang="ja-JP" sz="2200" b="1" dirty="0">
              <a:latin typeface="+mn-ea"/>
            </a:endParaRPr>
          </a:p>
          <a:p>
            <a:pPr marL="265113" indent="-265113">
              <a:lnSpc>
                <a:spcPct val="120000"/>
              </a:lnSpc>
            </a:pPr>
            <a:endParaRPr lang="en-US" altLang="ja-JP" sz="2200" b="1" i="0" dirty="0">
              <a:effectLst/>
              <a:latin typeface="+mn-ea"/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A90A1469-A723-46F7-84FA-2E0E067A9825}"/>
              </a:ext>
            </a:extLst>
          </p:cNvPr>
          <p:cNvCxnSpPr>
            <a:cxnSpLocks/>
          </p:cNvCxnSpPr>
          <p:nvPr/>
        </p:nvCxnSpPr>
        <p:spPr>
          <a:xfrm>
            <a:off x="923528" y="5445224"/>
            <a:ext cx="7920880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図 6">
            <a:extLst>
              <a:ext uri="{FF2B5EF4-FFF2-40B4-BE49-F238E27FC236}">
                <a16:creationId xmlns:a16="http://schemas.microsoft.com/office/drawing/2014/main" id="{8DC60B47-AB88-4A6D-93D7-DFB50B3C8AF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968"/>
          <a:stretch/>
        </p:blipFill>
        <p:spPr>
          <a:xfrm>
            <a:off x="5868144" y="3041323"/>
            <a:ext cx="2807795" cy="1593099"/>
          </a:xfrm>
          <a:prstGeom prst="rect">
            <a:avLst/>
          </a:prstGeom>
        </p:spPr>
      </p:pic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FD60F7BF-9CEB-4432-A8E5-635FE580C77D}"/>
              </a:ext>
            </a:extLst>
          </p:cNvPr>
          <p:cNvSpPr txBox="1"/>
          <p:nvPr/>
        </p:nvSpPr>
        <p:spPr>
          <a:xfrm>
            <a:off x="380662" y="3214646"/>
            <a:ext cx="4971993" cy="1216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indent="-265113">
              <a:lnSpc>
                <a:spcPct val="120000"/>
              </a:lnSpc>
            </a:pPr>
            <a:r>
              <a:rPr lang="ja-JP" altLang="en-US" sz="2200" b="1" dirty="0">
                <a:latin typeface="+mn-ea"/>
              </a:rPr>
              <a:t>これまでは・・・</a:t>
            </a:r>
            <a:endParaRPr lang="en-US" altLang="ja-JP" sz="2200" b="1" dirty="0">
              <a:latin typeface="+mn-ea"/>
            </a:endParaRPr>
          </a:p>
          <a:p>
            <a:pPr marL="360363" indent="-179388">
              <a:lnSpc>
                <a:spcPct val="120000"/>
              </a:lnSpc>
            </a:pPr>
            <a:r>
              <a:rPr lang="ja-JP" altLang="en-US" sz="2000" b="1" dirty="0">
                <a:latin typeface="+mn-ea"/>
              </a:rPr>
              <a:t>→事前の申請もしくは一時的な支払いが必要、書類の申請も大変･･･</a:t>
            </a:r>
            <a:endParaRPr lang="en-US" altLang="ja-JP" sz="2000" b="1" dirty="0">
              <a:latin typeface="+mn-ea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3F93C8D-0765-4EC1-A2E6-F17262CD4BFC}"/>
              </a:ext>
            </a:extLst>
          </p:cNvPr>
          <p:cNvSpPr txBox="1"/>
          <p:nvPr/>
        </p:nvSpPr>
        <p:spPr>
          <a:xfrm>
            <a:off x="429239" y="4622825"/>
            <a:ext cx="8535249" cy="847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+mn-ea"/>
              </a:rPr>
              <a:t>マイナンバーカードを保険証として利用すると</a:t>
            </a:r>
            <a:endParaRPr lang="en-US" altLang="ja-JP" sz="2200" b="1" dirty="0">
              <a:latin typeface="+mn-ea"/>
            </a:endParaRPr>
          </a:p>
          <a:p>
            <a:pPr marL="444500" indent="-263525">
              <a:lnSpc>
                <a:spcPct val="120000"/>
              </a:lnSpc>
            </a:pPr>
            <a:r>
              <a:rPr lang="ja-JP" altLang="en-US" sz="2000" b="1" dirty="0">
                <a:latin typeface="+mn-ea"/>
              </a:rPr>
              <a:t>→限度額以上の一時支払いが不要に！面倒な書類の手続きも必要なし！</a:t>
            </a:r>
            <a:endParaRPr lang="en-US" altLang="ja-JP" sz="2000" b="1" dirty="0">
              <a:latin typeface="+mn-ea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274942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946999FC-5827-4391-AF44-6BC0031B6DD1}"/>
              </a:ext>
            </a:extLst>
          </p:cNvPr>
          <p:cNvGrpSpPr/>
          <p:nvPr/>
        </p:nvGrpSpPr>
        <p:grpSpPr>
          <a:xfrm>
            <a:off x="3213574" y="4393725"/>
            <a:ext cx="3239990" cy="756953"/>
            <a:chOff x="1822263" y="4087369"/>
            <a:chExt cx="3239990" cy="756953"/>
          </a:xfrm>
        </p:grpSpPr>
        <p:sp>
          <p:nvSpPr>
            <p:cNvPr id="14" name="吹き出し: 円形 13">
              <a:extLst>
                <a:ext uri="{FF2B5EF4-FFF2-40B4-BE49-F238E27FC236}">
                  <a16:creationId xmlns:a16="http://schemas.microsoft.com/office/drawing/2014/main" id="{DF758353-C32C-4E18-B81F-CE87EE9790E0}"/>
                </a:ext>
              </a:extLst>
            </p:cNvPr>
            <p:cNvSpPr/>
            <p:nvPr/>
          </p:nvSpPr>
          <p:spPr>
            <a:xfrm>
              <a:off x="1822263" y="4087369"/>
              <a:ext cx="3239990" cy="756953"/>
            </a:xfrm>
            <a:prstGeom prst="wedgeEllipseCallout">
              <a:avLst>
                <a:gd name="adj1" fmla="val -3557"/>
                <a:gd name="adj2" fmla="val 85195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86108FC0-C1D1-48A6-B9CA-EF7292B915DF}"/>
                </a:ext>
              </a:extLst>
            </p:cNvPr>
            <p:cNvSpPr txBox="1"/>
            <p:nvPr/>
          </p:nvSpPr>
          <p:spPr>
            <a:xfrm>
              <a:off x="2368464" y="4354164"/>
              <a:ext cx="21852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明細等を管理する必要なし！</a:t>
              </a:r>
              <a:endParaRPr kumimoji="1"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</p:txBody>
        </p:sp>
      </p:grp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319CE8A-80DE-3DDD-D747-6022D843F4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3993" y="332656"/>
            <a:ext cx="6647974" cy="878702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マイナンバーカードを健康保険証として</a:t>
            </a:r>
            <a:br>
              <a:rPr lang="en-US" altLang="ja-JP" sz="2800" dirty="0"/>
            </a:br>
            <a:r>
              <a:rPr lang="ja-JP" altLang="en-US" sz="2800" dirty="0"/>
              <a:t>使うとなにがいいの？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465541A5-B8BA-144A-25A7-3363ED059F32}"/>
              </a:ext>
            </a:extLst>
          </p:cNvPr>
          <p:cNvSpPr txBox="1"/>
          <p:nvPr/>
        </p:nvSpPr>
        <p:spPr>
          <a:xfrm>
            <a:off x="251520" y="1594731"/>
            <a:ext cx="7492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943350" algn="l"/>
              </a:tabLst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 医療費控除がより簡単に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!</a:t>
            </a:r>
            <a:endParaRPr kumimoji="1" lang="ja-JP" altLang="en-US" sz="3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FD32A88F-A6E6-5C7D-A376-127678439A12}"/>
              </a:ext>
            </a:extLst>
          </p:cNvPr>
          <p:cNvSpPr txBox="1"/>
          <p:nvPr/>
        </p:nvSpPr>
        <p:spPr>
          <a:xfrm>
            <a:off x="521826" y="2195045"/>
            <a:ext cx="8100347" cy="2100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+mn-ea"/>
                <a:cs typeface="Meiryo" charset="-128"/>
              </a:rPr>
              <a:t>マイナポータルから、かかった医療費の総額や、診療を受けた日付、医療機関等の名称などの、医療費通知情報がいつでも閲覧できます。</a:t>
            </a:r>
            <a:endParaRPr lang="en-US" altLang="ja-JP" sz="2200" b="1" dirty="0">
              <a:latin typeface="+mn-ea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2200" b="1" dirty="0">
                <a:latin typeface="+mn-ea"/>
                <a:cs typeface="Meiryo" charset="-128"/>
              </a:rPr>
              <a:t>さらにマイナポータルから</a:t>
            </a:r>
            <a:r>
              <a:rPr lang="en-US" altLang="ja-JP" sz="2200" b="1" dirty="0">
                <a:latin typeface="+mn-ea"/>
                <a:cs typeface="Meiryo" charset="-128"/>
              </a:rPr>
              <a:t>e-Tax</a:t>
            </a:r>
            <a:r>
              <a:rPr lang="ja-JP" altLang="en-US" sz="2200" b="1" dirty="0">
                <a:latin typeface="+mn-ea"/>
                <a:cs typeface="Meiryo" charset="-128"/>
              </a:rPr>
              <a:t>に情報連携させることで、医療費控除の申告もオンラインで完結します。</a:t>
            </a:r>
          </a:p>
        </p:txBody>
      </p:sp>
      <p:pic>
        <p:nvPicPr>
          <p:cNvPr id="20" name="図 19" descr="スマートフォンを使っているマイナちゃんのイラスト">
            <a:extLst>
              <a:ext uri="{FF2B5EF4-FFF2-40B4-BE49-F238E27FC236}">
                <a16:creationId xmlns:a16="http://schemas.microsoft.com/office/drawing/2014/main" id="{86B090F6-B956-4619-9AF5-8828102B790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3843" y="5080295"/>
            <a:ext cx="832817" cy="1486006"/>
          </a:xfrm>
          <a:prstGeom prst="rect">
            <a:avLst/>
          </a:prstGeom>
        </p:spPr>
      </p:pic>
      <p:pic>
        <p:nvPicPr>
          <p:cNvPr id="22" name="図 21" descr="紙の健康保険証に✕が付いているイラストとマイナンバーカードの見本のイラスト">
            <a:extLst>
              <a:ext uri="{FF2B5EF4-FFF2-40B4-BE49-F238E27FC236}">
                <a16:creationId xmlns:a16="http://schemas.microsoft.com/office/drawing/2014/main" id="{2BF02849-7473-4C8A-BB9A-EFA7FE0DBFD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clrChange>
              <a:clrFrom>
                <a:srgbClr val="C8BFE7"/>
              </a:clrFrom>
              <a:clrTo>
                <a:srgbClr val="C8BFE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175" t="674" r="907" b="549"/>
          <a:stretch/>
        </p:blipFill>
        <p:spPr>
          <a:xfrm>
            <a:off x="582811" y="5230459"/>
            <a:ext cx="1610362" cy="1172764"/>
          </a:xfrm>
          <a:prstGeom prst="rect">
            <a:avLst/>
          </a:prstGeom>
          <a:ln>
            <a:noFill/>
          </a:ln>
        </p:spPr>
      </p:pic>
      <p:pic>
        <p:nvPicPr>
          <p:cNvPr id="16" name="図 15" descr="国税庁e-Taxキャラクターのイータ君のイラスト&#10;">
            <a:extLst>
              <a:ext uri="{FF2B5EF4-FFF2-40B4-BE49-F238E27FC236}">
                <a16:creationId xmlns:a16="http://schemas.microsoft.com/office/drawing/2014/main" id="{5ABBBFD8-5370-4650-90A2-FF78E5F855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0516" y="5263269"/>
            <a:ext cx="998481" cy="1285923"/>
          </a:xfrm>
          <a:prstGeom prst="rect">
            <a:avLst/>
          </a:prstGeom>
        </p:spPr>
      </p:pic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CBFBEE24-15FB-4D3E-9474-654E96AF3A08}"/>
              </a:ext>
            </a:extLst>
          </p:cNvPr>
          <p:cNvCxnSpPr>
            <a:cxnSpLocks/>
          </p:cNvCxnSpPr>
          <p:nvPr/>
        </p:nvCxnSpPr>
        <p:spPr>
          <a:xfrm>
            <a:off x="4810106" y="2996952"/>
            <a:ext cx="3629103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60C93E21-918A-4B16-86FD-07A49D1AF4C8}"/>
              </a:ext>
            </a:extLst>
          </p:cNvPr>
          <p:cNvCxnSpPr>
            <a:cxnSpLocks/>
          </p:cNvCxnSpPr>
          <p:nvPr/>
        </p:nvCxnSpPr>
        <p:spPr>
          <a:xfrm>
            <a:off x="582811" y="3429000"/>
            <a:ext cx="1610362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62FFF50C-1DE0-435C-8271-AB1F63EC166C}"/>
              </a:ext>
            </a:extLst>
          </p:cNvPr>
          <p:cNvCxnSpPr>
            <a:cxnSpLocks/>
          </p:cNvCxnSpPr>
          <p:nvPr/>
        </p:nvCxnSpPr>
        <p:spPr>
          <a:xfrm>
            <a:off x="4015560" y="3789040"/>
            <a:ext cx="4386407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6A2DDDFB-095E-491C-87B1-CAD3B6405874}"/>
              </a:ext>
            </a:extLst>
          </p:cNvPr>
          <p:cNvCxnSpPr>
            <a:cxnSpLocks/>
          </p:cNvCxnSpPr>
          <p:nvPr/>
        </p:nvCxnSpPr>
        <p:spPr>
          <a:xfrm>
            <a:off x="582811" y="4221088"/>
            <a:ext cx="4491032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03065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 descr="パソコンと薬のイラスト">
            <a:extLst>
              <a:ext uri="{FF2B5EF4-FFF2-40B4-BE49-F238E27FC236}">
                <a16:creationId xmlns:a16="http://schemas.microsoft.com/office/drawing/2014/main" id="{B5F93EEB-6DED-42EB-9E56-ADE5330245B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4432"/>
          <a:stretch/>
        </p:blipFill>
        <p:spPr>
          <a:xfrm>
            <a:off x="7728833" y="2802647"/>
            <a:ext cx="1177783" cy="1191762"/>
          </a:xfrm>
          <a:prstGeom prst="rect">
            <a:avLst/>
          </a:prstGeom>
          <a:ln>
            <a:noFill/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ABE7594A-BFED-4C40-B7CE-26AE60E64749}"/>
              </a:ext>
            </a:extLst>
          </p:cNvPr>
          <p:cNvSpPr txBox="1"/>
          <p:nvPr/>
        </p:nvSpPr>
        <p:spPr>
          <a:xfrm>
            <a:off x="365793" y="1430834"/>
            <a:ext cx="69847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➎ 自分の体の健康管理にも役立つ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!</a:t>
            </a:r>
            <a:endParaRPr kumimoji="1" lang="ja-JP" altLang="en-US" sz="3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319CE8A-80DE-3DDD-D747-6022D843F4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3993" y="332656"/>
            <a:ext cx="6647974" cy="878702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マイナンバーカードを健康保険証として</a:t>
            </a:r>
            <a:br>
              <a:rPr lang="en-US" altLang="ja-JP" sz="2800" dirty="0"/>
            </a:br>
            <a:r>
              <a:rPr lang="ja-JP" altLang="en-US" sz="2800" dirty="0"/>
              <a:t>使うとなにがいいの？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853B258F-1363-35FD-610F-A1210EC13029}"/>
              </a:ext>
            </a:extLst>
          </p:cNvPr>
          <p:cNvSpPr txBox="1"/>
          <p:nvPr/>
        </p:nvSpPr>
        <p:spPr>
          <a:xfrm>
            <a:off x="365794" y="1969909"/>
            <a:ext cx="8256380" cy="129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Meiryo" charset="-128"/>
                <a:ea typeface="Meiryo" charset="-128"/>
                <a:cs typeface="Meiryo" charset="-128"/>
              </a:rPr>
              <a:t>自分自身の特定健診情報や過去に処方された薬剤の情報など、自分の体にかかわる情報がマイナポータルからいつでも確認できます。</a:t>
            </a:r>
            <a:endParaRPr lang="en-US" altLang="ja-JP" sz="22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465541A5-B8BA-144A-25A7-3363ED059F32}"/>
              </a:ext>
            </a:extLst>
          </p:cNvPr>
          <p:cNvSpPr txBox="1"/>
          <p:nvPr/>
        </p:nvSpPr>
        <p:spPr>
          <a:xfrm>
            <a:off x="395536" y="3702021"/>
            <a:ext cx="84969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943350" algn="l"/>
              </a:tabLst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 医療保険の資格確認がスムーズに！</a:t>
            </a:r>
            <a:endParaRPr kumimoji="1" lang="ja-JP" altLang="en-US" sz="3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FD32A88F-A6E6-5C7D-A376-127678439A12}"/>
              </a:ext>
            </a:extLst>
          </p:cNvPr>
          <p:cNvSpPr txBox="1"/>
          <p:nvPr/>
        </p:nvSpPr>
        <p:spPr>
          <a:xfrm>
            <a:off x="443810" y="4163483"/>
            <a:ext cx="8304654" cy="129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Meiryo" charset="-128"/>
                <a:ea typeface="Meiryo" charset="-128"/>
                <a:cs typeface="Meiryo" charset="-128"/>
              </a:rPr>
              <a:t>顔認証付きカードリーダーで、スムーズに本人確認や医療保険の資格、自己負担限度額等の確認ができるため、医療機関や薬局の受付にかかる時間を短縮できます。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AD29A2B-5034-4E20-AC35-82A54AD912FB}"/>
              </a:ext>
            </a:extLst>
          </p:cNvPr>
          <p:cNvGrpSpPr/>
          <p:nvPr/>
        </p:nvGrpSpPr>
        <p:grpSpPr>
          <a:xfrm>
            <a:off x="4110579" y="2885633"/>
            <a:ext cx="3239990" cy="756953"/>
            <a:chOff x="1822263" y="4087369"/>
            <a:chExt cx="3239990" cy="756953"/>
          </a:xfrm>
        </p:grpSpPr>
        <p:sp>
          <p:nvSpPr>
            <p:cNvPr id="12" name="吹き出し: 円形 11">
              <a:extLst>
                <a:ext uri="{FF2B5EF4-FFF2-40B4-BE49-F238E27FC236}">
                  <a16:creationId xmlns:a16="http://schemas.microsoft.com/office/drawing/2014/main" id="{E486578B-0D80-45A7-B4B2-D4F79F357640}"/>
                </a:ext>
              </a:extLst>
            </p:cNvPr>
            <p:cNvSpPr/>
            <p:nvPr/>
          </p:nvSpPr>
          <p:spPr>
            <a:xfrm>
              <a:off x="1822263" y="4087369"/>
              <a:ext cx="3239990" cy="756953"/>
            </a:xfrm>
            <a:prstGeom prst="wedgeEllipseCallout">
              <a:avLst>
                <a:gd name="adj1" fmla="val 63092"/>
                <a:gd name="adj2" fmla="val 10047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DF3C1F6F-D97C-4E7B-AC0F-39A79411E6DA}"/>
                </a:ext>
              </a:extLst>
            </p:cNvPr>
            <p:cNvSpPr txBox="1"/>
            <p:nvPr/>
          </p:nvSpPr>
          <p:spPr>
            <a:xfrm>
              <a:off x="2101462" y="4235013"/>
              <a:ext cx="264965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マイナポータルの薬剤情報は電子版お薬手帳にも連携可能！</a:t>
              </a:r>
              <a:endParaRPr kumimoji="1"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</p:txBody>
        </p:sp>
      </p:grpSp>
      <p:pic>
        <p:nvPicPr>
          <p:cNvPr id="14" name="図 13" descr="コスト削減に喜ぶマイナちゃんのイラスト">
            <a:extLst>
              <a:ext uri="{FF2B5EF4-FFF2-40B4-BE49-F238E27FC236}">
                <a16:creationId xmlns:a16="http://schemas.microsoft.com/office/drawing/2014/main" id="{CE171FD3-242B-4409-BB9C-3C3F7711E8B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847"/>
          <a:stretch/>
        </p:blipFill>
        <p:spPr>
          <a:xfrm>
            <a:off x="4981750" y="5626757"/>
            <a:ext cx="2199121" cy="1032680"/>
          </a:xfrm>
          <a:prstGeom prst="rect">
            <a:avLst/>
          </a:prstGeom>
          <a:ln>
            <a:noFill/>
          </a:ln>
        </p:spPr>
      </p:pic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61138C09-783E-4DFA-B0B0-D052774FACC7}"/>
              </a:ext>
            </a:extLst>
          </p:cNvPr>
          <p:cNvGrpSpPr/>
          <p:nvPr/>
        </p:nvGrpSpPr>
        <p:grpSpPr>
          <a:xfrm>
            <a:off x="1099940" y="5366417"/>
            <a:ext cx="3553851" cy="1032680"/>
            <a:chOff x="1508402" y="4087368"/>
            <a:chExt cx="3553851" cy="1032680"/>
          </a:xfrm>
        </p:grpSpPr>
        <p:sp>
          <p:nvSpPr>
            <p:cNvPr id="17" name="吹き出し: 円形 16">
              <a:extLst>
                <a:ext uri="{FF2B5EF4-FFF2-40B4-BE49-F238E27FC236}">
                  <a16:creationId xmlns:a16="http://schemas.microsoft.com/office/drawing/2014/main" id="{E9DAF624-47AA-423D-9511-07E5700DED04}"/>
                </a:ext>
              </a:extLst>
            </p:cNvPr>
            <p:cNvSpPr/>
            <p:nvPr/>
          </p:nvSpPr>
          <p:spPr>
            <a:xfrm>
              <a:off x="1508402" y="4087368"/>
              <a:ext cx="3553851" cy="1032680"/>
            </a:xfrm>
            <a:prstGeom prst="wedgeEllipseCallout">
              <a:avLst>
                <a:gd name="adj1" fmla="val 54922"/>
                <a:gd name="adj2" fmla="val 30711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AB0DD228-5DB5-48FE-A353-363B784D8824}"/>
                </a:ext>
              </a:extLst>
            </p:cNvPr>
            <p:cNvSpPr txBox="1"/>
            <p:nvPr/>
          </p:nvSpPr>
          <p:spPr>
            <a:xfrm>
              <a:off x="2028318" y="4304643"/>
              <a:ext cx="264965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医療機関も保険証の情報を手入力する必要がなくなり、ミスの防止や事務コストの削減にもつながる！</a:t>
              </a:r>
              <a:endParaRPr kumimoji="1"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29089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EC3FDDA6-3FE5-4802-A9E1-14FC1EAE46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800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EC3FDDA6-3FE5-4802-A9E1-14FC1EAE4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図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900" y="979140"/>
            <a:ext cx="8458200" cy="4610100"/>
          </a:xfrm>
          <a:prstGeom prst="rect">
            <a:avLst/>
          </a:prstGeom>
        </p:spPr>
      </p:pic>
      <p:sp>
        <p:nvSpPr>
          <p:cNvPr id="7" name="タイトル 6">
            <a:extLst>
              <a:ext uri="{FF2B5EF4-FFF2-40B4-BE49-F238E27FC236}">
                <a16:creationId xmlns:a16="http://schemas.microsoft.com/office/drawing/2014/main" id="{E4BD2470-106A-4F12-BE8D-0354FD13CC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568" y="490671"/>
            <a:ext cx="7160935" cy="584775"/>
          </a:xfrm>
        </p:spPr>
        <p:txBody>
          <a:bodyPr vert="horz" wrap="non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 dirty="0"/>
              <a:t>マイナンバーカードで暮らしを便利に</a:t>
            </a:r>
          </a:p>
        </p:txBody>
      </p:sp>
      <p:pic>
        <p:nvPicPr>
          <p:cNvPr id="40" name="図 39" descr="スマートフォンをカードリーダーにかざすマイナちゃんのイラスト">
            <a:extLst>
              <a:ext uri="{FF2B5EF4-FFF2-40B4-BE49-F238E27FC236}">
                <a16:creationId xmlns:a16="http://schemas.microsoft.com/office/drawing/2014/main" id="{5898D263-4C77-4C96-9E9E-A8A81F3690D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689" r="7243"/>
          <a:stretch/>
        </p:blipFill>
        <p:spPr>
          <a:xfrm>
            <a:off x="587608" y="3573016"/>
            <a:ext cx="816039" cy="10872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A25C5697-D845-4151-889F-2823292DA831}"/>
              </a:ext>
            </a:extLst>
          </p:cNvPr>
          <p:cNvSpPr txBox="1"/>
          <p:nvPr/>
        </p:nvSpPr>
        <p:spPr>
          <a:xfrm>
            <a:off x="359752" y="2204864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本人確認書類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になる！</a:t>
            </a: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B4FD62CF-5DC3-4F1E-9B7B-D4D4FD807AB7}"/>
              </a:ext>
            </a:extLst>
          </p:cNvPr>
          <p:cNvSpPr txBox="1"/>
          <p:nvPr/>
        </p:nvSpPr>
        <p:spPr>
          <a:xfrm>
            <a:off x="2519992" y="2145050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健康保険証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としても使え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F0A5F4AD-BC88-408F-B902-719D8189F024}"/>
              </a:ext>
            </a:extLst>
          </p:cNvPr>
          <p:cNvSpPr txBox="1"/>
          <p:nvPr/>
        </p:nvSpPr>
        <p:spPr>
          <a:xfrm>
            <a:off x="4680232" y="2204864"/>
            <a:ext cx="19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オンライン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各種行政手続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ができる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2" name="図 51" descr="マイナポータルのオンライン画面を表すイラスト">
            <a:extLst>
              <a:ext uri="{FF2B5EF4-FFF2-40B4-BE49-F238E27FC236}">
                <a16:creationId xmlns:a16="http://schemas.microsoft.com/office/drawing/2014/main" id="{EB8CCCCF-B418-4D20-B5E3-8639597479C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6947" y="1584150"/>
            <a:ext cx="858124" cy="606073"/>
          </a:xfrm>
          <a:prstGeom prst="rect">
            <a:avLst/>
          </a:prstGeom>
        </p:spPr>
      </p:pic>
      <p:grpSp>
        <p:nvGrpSpPr>
          <p:cNvPr id="57" name="グループ化 56" descr="マイナンバーカード裏面の見本の画像">
            <a:extLst>
              <a:ext uri="{FF2B5EF4-FFF2-40B4-BE49-F238E27FC236}">
                <a16:creationId xmlns:a16="http://schemas.microsoft.com/office/drawing/2014/main" id="{20F76BFD-9E11-4381-819C-A616AF496FF3}"/>
              </a:ext>
            </a:extLst>
          </p:cNvPr>
          <p:cNvGrpSpPr/>
          <p:nvPr/>
        </p:nvGrpSpPr>
        <p:grpSpPr>
          <a:xfrm>
            <a:off x="4284010" y="5013176"/>
            <a:ext cx="1278656" cy="790522"/>
            <a:chOff x="5176367" y="3354034"/>
            <a:chExt cx="3035752" cy="1913782"/>
          </a:xfrm>
        </p:grpSpPr>
        <p:pic>
          <p:nvPicPr>
            <p:cNvPr id="58" name="図 57">
              <a:extLst>
                <a:ext uri="{FF2B5EF4-FFF2-40B4-BE49-F238E27FC236}">
                  <a16:creationId xmlns:a16="http://schemas.microsoft.com/office/drawing/2014/main" id="{547532C4-B7FB-4EE5-AB2A-37D7B8E9B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6367" y="3354034"/>
              <a:ext cx="3018791" cy="1913782"/>
            </a:xfrm>
            <a:prstGeom prst="rect">
              <a:avLst/>
            </a:prstGeom>
          </p:spPr>
        </p:pic>
        <p:sp>
          <p:nvSpPr>
            <p:cNvPr id="59" name="角丸四角形 29">
              <a:extLst>
                <a:ext uri="{FF2B5EF4-FFF2-40B4-BE49-F238E27FC236}">
                  <a16:creationId xmlns:a16="http://schemas.microsoft.com/office/drawing/2014/main" id="{DEC006D8-9F25-4815-B01D-9B5DCD1DA180}"/>
                </a:ext>
              </a:extLst>
            </p:cNvPr>
            <p:cNvSpPr/>
            <p:nvPr/>
          </p:nvSpPr>
          <p:spPr>
            <a:xfrm>
              <a:off x="5205095" y="3393581"/>
              <a:ext cx="3007024" cy="1874235"/>
            </a:xfrm>
            <a:prstGeom prst="roundRect">
              <a:avLst>
                <a:gd name="adj" fmla="val 43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グループ化 59" descr="マイナちゃんとマイキーくんのイラスト">
            <a:extLst>
              <a:ext uri="{FF2B5EF4-FFF2-40B4-BE49-F238E27FC236}">
                <a16:creationId xmlns:a16="http://schemas.microsoft.com/office/drawing/2014/main" id="{FB950988-E575-4992-8E2A-E4020725DD0F}"/>
              </a:ext>
            </a:extLst>
          </p:cNvPr>
          <p:cNvGrpSpPr>
            <a:grpSpLocks noChangeAspect="1"/>
          </p:cNvGrpSpPr>
          <p:nvPr/>
        </p:nvGrpSpPr>
        <p:grpSpPr>
          <a:xfrm>
            <a:off x="1882797" y="4810401"/>
            <a:ext cx="934994" cy="720000"/>
            <a:chOff x="2575093" y="5893933"/>
            <a:chExt cx="693150" cy="533766"/>
          </a:xfrm>
        </p:grpSpPr>
        <p:pic>
          <p:nvPicPr>
            <p:cNvPr id="61" name="図 60">
              <a:extLst>
                <a:ext uri="{FF2B5EF4-FFF2-40B4-BE49-F238E27FC236}">
                  <a16:creationId xmlns:a16="http://schemas.microsoft.com/office/drawing/2014/main" id="{5A623287-D6C0-4EC7-931A-A9AC3D012C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75093" y="5893933"/>
              <a:ext cx="353680" cy="517233"/>
            </a:xfrm>
            <a:prstGeom prst="rect">
              <a:avLst/>
            </a:prstGeom>
          </p:spPr>
        </p:pic>
        <p:pic>
          <p:nvPicPr>
            <p:cNvPr id="62" name="図 61">
              <a:extLst>
                <a:ext uri="{FF2B5EF4-FFF2-40B4-BE49-F238E27FC236}">
                  <a16:creationId xmlns:a16="http://schemas.microsoft.com/office/drawing/2014/main" id="{86723CF6-E14D-4101-B384-A668F8D227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80"/>
            <a:stretch/>
          </p:blipFill>
          <p:spPr>
            <a:xfrm>
              <a:off x="2914563" y="6052149"/>
              <a:ext cx="353680" cy="375550"/>
            </a:xfrm>
            <a:prstGeom prst="rect">
              <a:avLst/>
            </a:prstGeom>
          </p:spPr>
        </p:pic>
      </p:grp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70DFA3E0-BC25-414C-8835-D5943A80AFC9}"/>
              </a:ext>
            </a:extLst>
          </p:cNvPr>
          <p:cNvSpPr txBox="1"/>
          <p:nvPr/>
        </p:nvSpPr>
        <p:spPr>
          <a:xfrm>
            <a:off x="4355976" y="5805264"/>
            <a:ext cx="38042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＜参考＞</a:t>
            </a:r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総務省のマイナンバーカードのホームページ</a:t>
            </a:r>
            <a:r>
              <a:rPr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</a:p>
          <a:p>
            <a:r>
              <a:rPr lang="en-US" altLang="ja-JP" sz="1000" b="1" u="sng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13"/>
              </a:rPr>
              <a:t>https://www.soumu.go.jp/kojinbango_card/03.html</a:t>
            </a:r>
            <a:endParaRPr lang="ja-JP" altLang="en-US" sz="1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4" name="図 63" descr="総務省のマイナンバーカードのホームページのQRコード">
            <a:extLst>
              <a:ext uri="{FF2B5EF4-FFF2-40B4-BE49-F238E27FC236}">
                <a16:creationId xmlns:a16="http://schemas.microsoft.com/office/drawing/2014/main" id="{8EE67651-3F50-4501-9273-ABEF311D5C05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8726" y="5661248"/>
            <a:ext cx="545722" cy="545722"/>
          </a:xfrm>
          <a:prstGeom prst="rect">
            <a:avLst/>
          </a:prstGeom>
        </p:spPr>
      </p:pic>
      <p:pic>
        <p:nvPicPr>
          <p:cNvPr id="67" name="図 66" descr="e-taxのロゴマーク">
            <a:extLst>
              <a:ext uri="{FF2B5EF4-FFF2-40B4-BE49-F238E27FC236}">
                <a16:creationId xmlns:a16="http://schemas.microsoft.com/office/drawing/2014/main" id="{DC5C8DF9-9AB0-457C-A1BE-2272B7CB911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0" b="97143" l="0" r="9834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1868" y="4293096"/>
            <a:ext cx="1266556" cy="599769"/>
          </a:xfrm>
          <a:prstGeom prst="rect">
            <a:avLst/>
          </a:prstGeom>
        </p:spPr>
      </p:pic>
      <p:pic>
        <p:nvPicPr>
          <p:cNvPr id="70" name="図 69" descr="マイナンバーカードを持つマイナちゃんのイラスト">
            <a:extLst>
              <a:ext uri="{FF2B5EF4-FFF2-40B4-BE49-F238E27FC236}">
                <a16:creationId xmlns:a16="http://schemas.microsoft.com/office/drawing/2014/main" id="{8C04DB92-C370-4C44-9017-56F0FB8D807A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3998" b="80386" l="2939" r="98413">
                        <a14:foregroundMark x1="37096" y1="18399" x2="48560" y2="71668"/>
                        <a14:foregroundMark x1="57378" y1="18944" x2="57025" y2="34241"/>
                        <a14:foregroundMark x1="89183" y1="52012" x2="88066" y2="78206"/>
                        <a14:foregroundMark x1="19812" y1="52557" x2="29394" y2="533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4313" b="21185"/>
          <a:stretch/>
        </p:blipFill>
        <p:spPr>
          <a:xfrm>
            <a:off x="625330" y="1196752"/>
            <a:ext cx="994342" cy="899645"/>
          </a:xfrm>
          <a:prstGeom prst="rect">
            <a:avLst/>
          </a:prstGeom>
        </p:spPr>
      </p:pic>
      <p:sp>
        <p:nvSpPr>
          <p:cNvPr id="75" name="テキスト ボックス 74">
            <a:extLst>
              <a:ext uri="{FF2B5EF4-FFF2-40B4-BE49-F238E27FC236}">
                <a16:creationId xmlns:a16="http://schemas.microsoft.com/office/drawing/2014/main" id="{9AECBA20-9BE5-447C-B527-E83918CBF894}"/>
              </a:ext>
            </a:extLst>
          </p:cNvPr>
          <p:cNvSpPr txBox="1"/>
          <p:nvPr/>
        </p:nvSpPr>
        <p:spPr>
          <a:xfrm>
            <a:off x="1439872" y="3284984"/>
            <a:ext cx="19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コンビニ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で各種証明書が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取得でき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6" name="グループ化 75" descr="受付に座っているマイナちゃんのイラスト">
            <a:extLst>
              <a:ext uri="{FF2B5EF4-FFF2-40B4-BE49-F238E27FC236}">
                <a16:creationId xmlns:a16="http://schemas.microsoft.com/office/drawing/2014/main" id="{7D5FB597-139C-4185-9D29-90E96273BE48}"/>
              </a:ext>
            </a:extLst>
          </p:cNvPr>
          <p:cNvGrpSpPr/>
          <p:nvPr/>
        </p:nvGrpSpPr>
        <p:grpSpPr>
          <a:xfrm>
            <a:off x="2339752" y="1097573"/>
            <a:ext cx="1108184" cy="1035283"/>
            <a:chOff x="3385544" y="1332173"/>
            <a:chExt cx="1108184" cy="1035283"/>
          </a:xfrm>
        </p:grpSpPr>
        <p:pic>
          <p:nvPicPr>
            <p:cNvPr id="77" name="図 76">
              <a:extLst>
                <a:ext uri="{FF2B5EF4-FFF2-40B4-BE49-F238E27FC236}">
                  <a16:creationId xmlns:a16="http://schemas.microsoft.com/office/drawing/2014/main" id="{89A5F2E5-6E36-4CD5-AE5F-AAC4BDC924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 cstate="screen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22111" b="70017" l="14879" r="84495">
                          <a14:foregroundMark x1="55756" y1="30430" x2="56774" y2="37353"/>
                          <a14:foregroundMark x1="43618" y1="30262" x2="46045" y2="38079"/>
                          <a14:foregroundMark x1="48238" y1="40704" x2="55991" y2="50251"/>
                          <a14:foregroundMark x1="24589" y1="47292" x2="24354" y2="50586"/>
                          <a14:foregroundMark x1="43618" y1="54048" x2="57478" y2="5404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3777" t="23775" r="15382" b="29038"/>
            <a:stretch/>
          </p:blipFill>
          <p:spPr>
            <a:xfrm>
              <a:off x="3385544" y="1332173"/>
              <a:ext cx="1108184" cy="1035283"/>
            </a:xfrm>
            <a:prstGeom prst="rect">
              <a:avLst/>
            </a:prstGeom>
          </p:spPr>
        </p:pic>
        <p:sp>
          <p:nvSpPr>
            <p:cNvPr id="109" name="テキスト ボックス 108">
              <a:extLst>
                <a:ext uri="{FF2B5EF4-FFF2-40B4-BE49-F238E27FC236}">
                  <a16:creationId xmlns:a16="http://schemas.microsoft.com/office/drawing/2014/main" id="{A4365763-27CA-411B-8972-7405AEC11E60}"/>
                </a:ext>
              </a:extLst>
            </p:cNvPr>
            <p:cNvSpPr txBox="1"/>
            <p:nvPr/>
          </p:nvSpPr>
          <p:spPr>
            <a:xfrm>
              <a:off x="3479023" y="2092547"/>
              <a:ext cx="948010" cy="215444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kumimoji="1" lang="ja-JP" altLang="en-US" sz="8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　　　○△受付</a:t>
              </a:r>
            </a:p>
          </p:txBody>
        </p:sp>
      </p:grp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6AC6B672-28EC-407A-9211-F4F56EB4A275}"/>
              </a:ext>
            </a:extLst>
          </p:cNvPr>
          <p:cNvSpPr txBox="1"/>
          <p:nvPr/>
        </p:nvSpPr>
        <p:spPr>
          <a:xfrm>
            <a:off x="6840472" y="2204864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公金受取口座の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ができ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3" name="グループ化 52" descr="マイナンバーカード表面の見本の画像">
            <a:extLst>
              <a:ext uri="{FF2B5EF4-FFF2-40B4-BE49-F238E27FC236}">
                <a16:creationId xmlns:a16="http://schemas.microsoft.com/office/drawing/2014/main" id="{0879C03D-F135-42C8-90A3-5338A13CCC14}"/>
              </a:ext>
            </a:extLst>
          </p:cNvPr>
          <p:cNvGrpSpPr/>
          <p:nvPr/>
        </p:nvGrpSpPr>
        <p:grpSpPr>
          <a:xfrm>
            <a:off x="2915816" y="5023637"/>
            <a:ext cx="1259412" cy="790522"/>
            <a:chOff x="1094719" y="3698700"/>
            <a:chExt cx="3007024" cy="1889328"/>
          </a:xfrm>
        </p:grpSpPr>
        <p:pic>
          <p:nvPicPr>
            <p:cNvPr id="54" name="図 53">
              <a:extLst>
                <a:ext uri="{FF2B5EF4-FFF2-40B4-BE49-F238E27FC236}">
                  <a16:creationId xmlns:a16="http://schemas.microsoft.com/office/drawing/2014/main" id="{E25E1A29-BFF1-4B5A-80AD-0B537263CC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4719" y="3698700"/>
              <a:ext cx="3007024" cy="1889328"/>
            </a:xfrm>
            <a:prstGeom prst="rect">
              <a:avLst/>
            </a:prstGeom>
          </p:spPr>
        </p:pic>
        <p:sp>
          <p:nvSpPr>
            <p:cNvPr id="55" name="角丸四角形 5">
              <a:extLst>
                <a:ext uri="{FF2B5EF4-FFF2-40B4-BE49-F238E27FC236}">
                  <a16:creationId xmlns:a16="http://schemas.microsoft.com/office/drawing/2014/main" id="{143F5956-47BA-426A-9D34-AF11F2AF3865}"/>
                </a:ext>
              </a:extLst>
            </p:cNvPr>
            <p:cNvSpPr/>
            <p:nvPr/>
          </p:nvSpPr>
          <p:spPr>
            <a:xfrm>
              <a:off x="1094719" y="3713793"/>
              <a:ext cx="3007024" cy="1874235"/>
            </a:xfrm>
            <a:prstGeom prst="roundRect">
              <a:avLst>
                <a:gd name="adj" fmla="val 43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915B1D2E-5B7C-4FC3-835D-204974B13352}"/>
              </a:ext>
            </a:extLst>
          </p:cNvPr>
          <p:cNvSpPr txBox="1"/>
          <p:nvPr/>
        </p:nvSpPr>
        <p:spPr>
          <a:xfrm>
            <a:off x="5760352" y="3284984"/>
            <a:ext cx="1980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e-Tax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確定申告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届出が自宅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できる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CA74A376-C966-47E8-9A3C-3FE22B4C79A8}"/>
              </a:ext>
            </a:extLst>
          </p:cNvPr>
          <p:cNvSpPr txBox="1"/>
          <p:nvPr/>
        </p:nvSpPr>
        <p:spPr>
          <a:xfrm>
            <a:off x="3593918" y="3207969"/>
            <a:ext cx="1980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1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</a:t>
            </a:r>
            <a:endParaRPr kumimoji="1" lang="en-US" altLang="ja-JP" sz="2000" b="1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1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ポイントが</a:t>
            </a:r>
            <a:endParaRPr kumimoji="1" lang="en-US" altLang="ja-JP" sz="2000" b="1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1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もらえる</a:t>
            </a:r>
            <a:endParaRPr kumimoji="1" lang="en-US" altLang="ja-JP" sz="2000" b="1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（令和５年</a:t>
            </a: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9</a:t>
            </a: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月末終了）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D7CF4E35-BF74-4075-903F-2B62DD74060D}"/>
              </a:ext>
            </a:extLst>
          </p:cNvPr>
          <p:cNvSpPr txBox="1"/>
          <p:nvPr/>
        </p:nvSpPr>
        <p:spPr>
          <a:xfrm>
            <a:off x="394280" y="5726870"/>
            <a:ext cx="2689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800" marR="0" lvl="0" indent="-136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※</a:t>
            </a: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：医療機関・薬局によって開始時期が異なります。利用できる医療機関・薬局については、厚生労働省のホームページで公開しています。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22273CF3-5FA2-45C3-96B1-F99DEC9C1E74}"/>
              </a:ext>
            </a:extLst>
          </p:cNvPr>
          <p:cNvSpPr txBox="1"/>
          <p:nvPr/>
        </p:nvSpPr>
        <p:spPr>
          <a:xfrm>
            <a:off x="3396286" y="2753453"/>
            <a:ext cx="6649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※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0129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>
            <a:spLocks noGrp="1"/>
          </p:cNvSpPr>
          <p:nvPr>
            <p:ph type="subTitle" idx="4294967295"/>
          </p:nvPr>
        </p:nvSpPr>
        <p:spPr>
          <a:xfrm>
            <a:off x="346744" y="1398916"/>
            <a:ext cx="8371578" cy="1098762"/>
          </a:xfrm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</a:pPr>
            <a:r>
              <a:rPr lang="ja-JP" altLang="en-US" sz="2400" dirty="0"/>
              <a:t>マイナンバーカードの健康保険証利用は、スマートフォン</a:t>
            </a:r>
            <a:r>
              <a:rPr lang="ja-JP" altLang="en-US" sz="2400" spc="-500" dirty="0"/>
              <a:t>・</a:t>
            </a:r>
            <a:r>
              <a:rPr lang="ja-JP" altLang="en-US" sz="2400" spc="-100" dirty="0"/>
              <a:t>パ</a:t>
            </a:r>
            <a:r>
              <a:rPr lang="ja-JP" altLang="en-US" sz="2400" dirty="0"/>
              <a:t>ソコ</a:t>
            </a:r>
            <a:r>
              <a:rPr lang="ja-JP" altLang="en-US" sz="2400" spc="-500" dirty="0"/>
              <a:t>ン</a:t>
            </a:r>
            <a:r>
              <a:rPr lang="ja-JP" altLang="en-US" sz="2400" dirty="0"/>
              <a:t>・医療機関等の受付・セブン銀行の</a:t>
            </a:r>
            <a:r>
              <a:rPr lang="en-US" altLang="ja-JP" sz="2400" dirty="0"/>
              <a:t>ATM</a:t>
            </a:r>
            <a:r>
              <a:rPr lang="ja-JP" altLang="en-US" sz="2400" dirty="0"/>
              <a:t>より申請することが可能です。</a:t>
            </a:r>
            <a:endParaRPr lang="en-US" altLang="ja-JP" sz="24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60301" y="3106362"/>
            <a:ext cx="195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スマートフォンから申請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本教材で取り扱う申請方法です。</a:t>
            </a: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2545642" y="3113996"/>
            <a:ext cx="203255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パソコンから申請</a:t>
            </a:r>
            <a:endParaRPr kumimoji="1" lang="en-US" altLang="ja-JP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sz="1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ポータルアプリをインストールしたパソコンから申し込むことができます。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※IC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カードリーダーが必要です。</a:t>
            </a:r>
          </a:p>
        </p:txBody>
      </p:sp>
      <p:sp>
        <p:nvSpPr>
          <p:cNvPr id="9" name="テキスト ボックス 8"/>
          <p:cNvSpPr txBox="1"/>
          <p:nvPr/>
        </p:nvSpPr>
        <p:spPr>
          <a:xfrm>
            <a:off x="6515736" y="3113996"/>
            <a:ext cx="2448751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セブン銀行</a:t>
            </a:r>
            <a:r>
              <a:rPr kumimoji="1" lang="en-US" altLang="ja-JP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ATM</a:t>
            </a: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から申請</a:t>
            </a:r>
            <a:endParaRPr kumimoji="1" lang="en-US" altLang="ja-JP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ンバーカードと利用者証明用パスワード（</a:t>
            </a:r>
            <a:r>
              <a:rPr kumimoji="1" lang="en-US" altLang="ja-JP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kumimoji="1" lang="ja-JP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桁）があればセブン銀行の</a:t>
            </a:r>
            <a:r>
              <a:rPr kumimoji="1" lang="en-US" altLang="ja-JP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ATM</a:t>
            </a:r>
            <a:r>
              <a:rPr kumimoji="1" lang="ja-JP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からも申し込み可能です。</a:t>
            </a:r>
            <a:endParaRPr kumimoji="1" lang="en-US" altLang="ja-JP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13" name="直線コネクタ 12"/>
          <p:cNvCxnSpPr>
            <a:cxnSpLocks/>
          </p:cNvCxnSpPr>
          <p:nvPr/>
        </p:nvCxnSpPr>
        <p:spPr>
          <a:xfrm>
            <a:off x="2436576" y="3074212"/>
            <a:ext cx="0" cy="3445271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>
            <a:cxnSpLocks/>
          </p:cNvCxnSpPr>
          <p:nvPr/>
        </p:nvCxnSpPr>
        <p:spPr>
          <a:xfrm>
            <a:off x="4571182" y="3067974"/>
            <a:ext cx="0" cy="3239288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/>
          <p:cNvCxnSpPr/>
          <p:nvPr/>
        </p:nvCxnSpPr>
        <p:spPr>
          <a:xfrm>
            <a:off x="252000" y="3061729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コネクタ 21"/>
          <p:cNvCxnSpPr/>
          <p:nvPr/>
        </p:nvCxnSpPr>
        <p:spPr>
          <a:xfrm>
            <a:off x="251182" y="2492896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正方形/長方形 3"/>
          <p:cNvSpPr/>
          <p:nvPr/>
        </p:nvSpPr>
        <p:spPr>
          <a:xfrm>
            <a:off x="346744" y="2593994"/>
            <a:ext cx="23391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４つの申請方法</a:t>
            </a:r>
          </a:p>
        </p:txBody>
      </p:sp>
      <p:pic>
        <p:nvPicPr>
          <p:cNvPr id="11" name="図 10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783" t="4416" r="14177" b="8119"/>
          <a:stretch/>
        </p:blipFill>
        <p:spPr>
          <a:xfrm>
            <a:off x="910565" y="4837287"/>
            <a:ext cx="885586" cy="1531273"/>
          </a:xfrm>
          <a:prstGeom prst="rect">
            <a:avLst/>
          </a:prstGeom>
        </p:spPr>
      </p:pic>
      <p:pic>
        <p:nvPicPr>
          <p:cNvPr id="18" name="図 17" descr="パソコンを使っているマイナちゃんのイラスト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03" t="18054" r="5226" b="14081"/>
          <a:stretch/>
        </p:blipFill>
        <p:spPr>
          <a:xfrm>
            <a:off x="3328555" y="5390854"/>
            <a:ext cx="1020744" cy="1087254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50E688B-3DDB-4ECE-8AC6-11900C58979D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83AE6237-7D37-428C-B75B-5253BADA0A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92982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pic>
        <p:nvPicPr>
          <p:cNvPr id="26" name="図 25">
            <a:extLst>
              <a:ext uri="{FF2B5EF4-FFF2-40B4-BE49-F238E27FC236}">
                <a16:creationId xmlns:a16="http://schemas.microsoft.com/office/drawing/2014/main" id="{35209753-93B0-4054-93C3-B5837B3D611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2690" y="4727741"/>
            <a:ext cx="876157" cy="1750367"/>
          </a:xfrm>
          <a:prstGeom prst="rect">
            <a:avLst/>
          </a:prstGeom>
        </p:spPr>
      </p:pic>
      <p:pic>
        <p:nvPicPr>
          <p:cNvPr id="16" name="図 15" descr="郵便ポストの前にいるマイナちゃんのイラスト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784"/>
          <a:stretch/>
        </p:blipFill>
        <p:spPr>
          <a:xfrm>
            <a:off x="7652520" y="4883775"/>
            <a:ext cx="906560" cy="1486547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A09D0884-ECF2-9580-81E2-B7FB573A9A6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01991" y="5260554"/>
            <a:ext cx="724928" cy="1109768"/>
          </a:xfrm>
          <a:prstGeom prst="rect">
            <a:avLst/>
          </a:prstGeom>
        </p:spPr>
      </p:pic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A5CCF123-3EA3-480F-169E-A6BDE8E066C5}"/>
              </a:ext>
            </a:extLst>
          </p:cNvPr>
          <p:cNvCxnSpPr>
            <a:cxnSpLocks/>
          </p:cNvCxnSpPr>
          <p:nvPr/>
        </p:nvCxnSpPr>
        <p:spPr>
          <a:xfrm>
            <a:off x="6515736" y="3061729"/>
            <a:ext cx="0" cy="343278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B7B6435-18FF-DDF3-8A73-D8664E54CAD7}"/>
              </a:ext>
            </a:extLst>
          </p:cNvPr>
          <p:cNvSpPr txBox="1"/>
          <p:nvPr/>
        </p:nvSpPr>
        <p:spPr>
          <a:xfrm>
            <a:off x="4599872" y="3113996"/>
            <a:ext cx="1858708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医療機関・薬局から申請</a:t>
            </a:r>
            <a:endParaRPr kumimoji="1" lang="en-US" altLang="ja-JP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医療機関・薬局の受付等にある顔認証付きカードリーダーからも申し込むことができます</a:t>
            </a: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901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92982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263259" y="1389403"/>
            <a:ext cx="8494633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マイナポータルのホーム画面から利用申込みをはじめ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401675" y="1832693"/>
            <a:ext cx="32226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申し込む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573E7F1B-1133-4E34-8F34-15925A31D4D5}"/>
              </a:ext>
            </a:extLst>
          </p:cNvPr>
          <p:cNvGrpSpPr/>
          <p:nvPr/>
        </p:nvGrpSpPr>
        <p:grpSpPr>
          <a:xfrm>
            <a:off x="551021" y="2837902"/>
            <a:ext cx="1882976" cy="3384205"/>
            <a:chOff x="3454003" y="2368589"/>
            <a:chExt cx="1882976" cy="3384205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6EB1B615-7F55-DD18-64C4-29FE2F59BB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6764" y="2368589"/>
              <a:ext cx="1630215" cy="338420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正方形/長方形 60">
              <a:extLst>
                <a:ext uri="{FF2B5EF4-FFF2-40B4-BE49-F238E27FC236}">
                  <a16:creationId xmlns:a16="http://schemas.microsoft.com/office/drawing/2014/main" id="{EE1322E6-0C6C-4F60-845E-6A27DB918E58}"/>
                </a:ext>
              </a:extLst>
            </p:cNvPr>
            <p:cNvSpPr/>
            <p:nvPr/>
          </p:nvSpPr>
          <p:spPr>
            <a:xfrm>
              <a:off x="3801048" y="4894355"/>
              <a:ext cx="1375819" cy="18202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9" name="図形グループ 48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3454003" y="4614711"/>
              <a:ext cx="492443" cy="461665"/>
              <a:chOff x="7516281" y="2673548"/>
              <a:chExt cx="492443" cy="461665"/>
            </a:xfrm>
          </p:grpSpPr>
          <p:sp>
            <p:nvSpPr>
              <p:cNvPr id="62" name="円/楕円 61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3" name="正方形/長方形 62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❶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7D972C23-8E46-B5A4-7197-66C7765CB5A3}"/>
              </a:ext>
            </a:extLst>
          </p:cNvPr>
          <p:cNvGrpSpPr/>
          <p:nvPr/>
        </p:nvGrpSpPr>
        <p:grpSpPr>
          <a:xfrm>
            <a:off x="3495148" y="2882056"/>
            <a:ext cx="1630215" cy="3340051"/>
            <a:chOff x="5548903" y="2207131"/>
            <a:chExt cx="1142639" cy="2677531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021F96DB-4AEF-AA40-E299-FAC96B3E3B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8903" y="2207131"/>
              <a:ext cx="1142639" cy="237203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2" name="Picture 12">
              <a:extLst>
                <a:ext uri="{FF2B5EF4-FFF2-40B4-BE49-F238E27FC236}">
                  <a16:creationId xmlns:a16="http://schemas.microsoft.com/office/drawing/2014/main" id="{5A76405B-41E6-9A0F-2E23-B50CB78186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8904" y="4273668"/>
              <a:ext cx="1142638" cy="61099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2DAD0AC7-E725-49FE-ACC8-A5BFDC2F5E96}"/>
              </a:ext>
            </a:extLst>
          </p:cNvPr>
          <p:cNvGrpSpPr/>
          <p:nvPr/>
        </p:nvGrpSpPr>
        <p:grpSpPr>
          <a:xfrm>
            <a:off x="6111591" y="2882055"/>
            <a:ext cx="1988801" cy="3340051"/>
            <a:chOff x="6551806" y="2622166"/>
            <a:chExt cx="1887593" cy="3129278"/>
          </a:xfrm>
        </p:grpSpPr>
        <p:pic>
          <p:nvPicPr>
            <p:cNvPr id="5130" name="Picture 10">
              <a:extLst>
                <a:ext uri="{FF2B5EF4-FFF2-40B4-BE49-F238E27FC236}">
                  <a16:creationId xmlns:a16="http://schemas.microsoft.com/office/drawing/2014/main" id="{E1E841DD-62AA-290D-528D-D2680EA81B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0996" y="2622166"/>
              <a:ext cx="1578403" cy="31292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E84895CE-788F-7A73-ABC0-8CA4E5686685}"/>
                </a:ext>
              </a:extLst>
            </p:cNvPr>
            <p:cNvSpPr/>
            <p:nvPr/>
          </p:nvSpPr>
          <p:spPr>
            <a:xfrm>
              <a:off x="6860997" y="4546092"/>
              <a:ext cx="1256424" cy="18202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0F65DB61-AAAB-4DC4-B322-3EE634DE57FF}"/>
                </a:ext>
              </a:extLst>
            </p:cNvPr>
            <p:cNvSpPr/>
            <p:nvPr/>
          </p:nvSpPr>
          <p:spPr>
            <a:xfrm>
              <a:off x="6914595" y="4955744"/>
              <a:ext cx="1459618" cy="18202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3" name="図形グループ 42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562944" y="5033176"/>
              <a:ext cx="492444" cy="461665"/>
              <a:chOff x="7516280" y="2673548"/>
              <a:chExt cx="492444" cy="461665"/>
            </a:xfrm>
          </p:grpSpPr>
          <p:sp>
            <p:nvSpPr>
              <p:cNvPr id="44" name="円/楕円 43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5" name="正方形/長方形 44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0" y="2673548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grpSp>
          <p:nvGrpSpPr>
            <p:cNvPr id="46" name="図形グループ 45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551806" y="4247517"/>
              <a:ext cx="492443" cy="461665"/>
              <a:chOff x="7516281" y="2673548"/>
              <a:chExt cx="492443" cy="461665"/>
            </a:xfrm>
          </p:grpSpPr>
          <p:sp>
            <p:nvSpPr>
              <p:cNvPr id="47" name="円/楕円 46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8" name="正方形/長方形 47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❷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A7BEFDBF-872D-A8A0-5018-1E3F4E420857}"/>
              </a:ext>
            </a:extLst>
          </p:cNvPr>
          <p:cNvSpPr txBox="1"/>
          <p:nvPr/>
        </p:nvSpPr>
        <p:spPr>
          <a:xfrm>
            <a:off x="5354179" y="6222107"/>
            <a:ext cx="3179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の画像は</a:t>
            </a:r>
            <a:r>
              <a:rPr kumimoji="1" lang="en-US" altLang="ja-JP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ndroid</a:t>
            </a:r>
            <a:r>
              <a:rPr kumimoji="1" lang="ja-JP" altLang="en-US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のものです。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CA834753-E6F1-4EA0-9E8C-D05C855723B6}"/>
              </a:ext>
            </a:extLst>
          </p:cNvPr>
          <p:cNvSpPr txBox="1"/>
          <p:nvPr/>
        </p:nvSpPr>
        <p:spPr>
          <a:xfrm>
            <a:off x="5818025" y="1759640"/>
            <a:ext cx="32226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規約を確認し、「同意して次へ進む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5651683C-8AD1-4B24-A3CA-22C5116185FC}"/>
              </a:ext>
            </a:extLst>
          </p:cNvPr>
          <p:cNvSpPr txBox="1"/>
          <p:nvPr/>
        </p:nvSpPr>
        <p:spPr>
          <a:xfrm>
            <a:off x="3040642" y="1703587"/>
            <a:ext cx="322266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ja-JP" sz="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をスクロール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0" name="上矢印 68">
            <a:extLst>
              <a:ext uri="{FF2B5EF4-FFF2-40B4-BE49-F238E27FC236}">
                <a16:creationId xmlns:a16="http://schemas.microsoft.com/office/drawing/2014/main" id="{D227CB36-CBF5-4EFF-8933-F3EB64C8D02E}"/>
              </a:ext>
            </a:extLst>
          </p:cNvPr>
          <p:cNvSpPr>
            <a:spLocks noChangeAspect="1"/>
          </p:cNvSpPr>
          <p:nvPr/>
        </p:nvSpPr>
        <p:spPr>
          <a:xfrm>
            <a:off x="3994304" y="4064184"/>
            <a:ext cx="631902" cy="1811843"/>
          </a:xfrm>
          <a:prstGeom prst="upArrow">
            <a:avLst/>
          </a:prstGeom>
          <a:solidFill>
            <a:srgbClr val="FF000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8641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92429389-33CA-4C66-80B9-65D55877C2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09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92429389-33CA-4C66-80B9-65D55877C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494633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マイナンバーカードの利用者証明用電子証明書の認証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23454" y="1866249"/>
            <a:ext cx="3179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「申し込む」を押す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92982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A41C8ED8-1929-43F0-8360-31A95F15DEE6}"/>
              </a:ext>
            </a:extLst>
          </p:cNvPr>
          <p:cNvSpPr txBox="1"/>
          <p:nvPr/>
        </p:nvSpPr>
        <p:spPr>
          <a:xfrm>
            <a:off x="2986554" y="4647172"/>
            <a:ext cx="3242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ご自身で入力してください。</a:t>
            </a:r>
            <a:endParaRPr kumimoji="1" lang="en-US" altLang="ja-JP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　代理の方による入力は行わない</a:t>
            </a:r>
            <a:r>
              <a:rPr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ください。</a:t>
            </a:r>
            <a:endParaRPr kumimoji="1" lang="ja-JP" altLang="en-US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4D954CC6-145D-4797-827D-812EC585BF78}"/>
              </a:ext>
            </a:extLst>
          </p:cNvPr>
          <p:cNvGrpSpPr/>
          <p:nvPr/>
        </p:nvGrpSpPr>
        <p:grpSpPr>
          <a:xfrm>
            <a:off x="6059800" y="2457852"/>
            <a:ext cx="2039877" cy="3880078"/>
            <a:chOff x="6312853" y="1984712"/>
            <a:chExt cx="1886389" cy="3444751"/>
          </a:xfrm>
        </p:grpSpPr>
        <p:pic>
          <p:nvPicPr>
            <p:cNvPr id="6154" name="Picture 10">
              <a:extLst>
                <a:ext uri="{FF2B5EF4-FFF2-40B4-BE49-F238E27FC236}">
                  <a16:creationId xmlns:a16="http://schemas.microsoft.com/office/drawing/2014/main" id="{E59925D8-3086-196E-58F3-3D84AD69D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9861" y="1984712"/>
              <a:ext cx="1659381" cy="34447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正方形/長方形 43"/>
            <p:cNvSpPr/>
            <p:nvPr/>
          </p:nvSpPr>
          <p:spPr>
            <a:xfrm>
              <a:off x="6754137" y="3535078"/>
              <a:ext cx="1176885" cy="39040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正方形/長方形 50"/>
            <p:cNvSpPr/>
            <p:nvPr/>
          </p:nvSpPr>
          <p:spPr>
            <a:xfrm>
              <a:off x="6644361" y="4839560"/>
              <a:ext cx="1450379" cy="245367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28" name="図形グループ 27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12853" y="4608727"/>
              <a:ext cx="492443" cy="461665"/>
              <a:chOff x="7516281" y="2673548"/>
              <a:chExt cx="492443" cy="461665"/>
            </a:xfrm>
          </p:grpSpPr>
          <p:sp>
            <p:nvSpPr>
              <p:cNvPr id="29" name="円/楕円 28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0" name="正方形/長方形 29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❻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grpSp>
          <p:nvGrpSpPr>
            <p:cNvPr id="31" name="図形グループ 30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12854" y="3322922"/>
              <a:ext cx="492443" cy="461665"/>
              <a:chOff x="7516281" y="2673548"/>
              <a:chExt cx="492443" cy="461665"/>
            </a:xfrm>
          </p:grpSpPr>
          <p:sp>
            <p:nvSpPr>
              <p:cNvPr id="32" name="円/楕円 31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3" name="正方形/長方形 32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❺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7F308AF8-1F86-457F-97D2-20A57B8FADE1}"/>
              </a:ext>
            </a:extLst>
          </p:cNvPr>
          <p:cNvGrpSpPr/>
          <p:nvPr/>
        </p:nvGrpSpPr>
        <p:grpSpPr>
          <a:xfrm>
            <a:off x="649052" y="2451024"/>
            <a:ext cx="2237331" cy="3873832"/>
            <a:chOff x="1163600" y="2451024"/>
            <a:chExt cx="2237331" cy="3873832"/>
          </a:xfrm>
        </p:grpSpPr>
        <p:pic>
          <p:nvPicPr>
            <p:cNvPr id="6146" name="Picture 2">
              <a:extLst>
                <a:ext uri="{FF2B5EF4-FFF2-40B4-BE49-F238E27FC236}">
                  <a16:creationId xmlns:a16="http://schemas.microsoft.com/office/drawing/2014/main" id="{DBA3D477-E628-F69A-D786-D4148B0DA0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6842" y="2451024"/>
              <a:ext cx="1944089" cy="38738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正方形/長方形 42"/>
            <p:cNvSpPr/>
            <p:nvPr/>
          </p:nvSpPr>
          <p:spPr>
            <a:xfrm>
              <a:off x="1456841" y="5671056"/>
              <a:ext cx="1944089" cy="37079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34" name="図形グループ 33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1163600" y="5352930"/>
              <a:ext cx="492443" cy="405917"/>
              <a:chOff x="7519431" y="2642667"/>
              <a:chExt cx="492443" cy="461664"/>
            </a:xfrm>
          </p:grpSpPr>
          <p:sp>
            <p:nvSpPr>
              <p:cNvPr id="46" name="円/楕円 45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7" name="正方形/長方形 46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9431" y="2642667"/>
                <a:ext cx="492443" cy="4616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❹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E7F4BC2-4680-BF8A-0CAF-4555634384D2}"/>
              </a:ext>
            </a:extLst>
          </p:cNvPr>
          <p:cNvSpPr txBox="1"/>
          <p:nvPr/>
        </p:nvSpPr>
        <p:spPr>
          <a:xfrm>
            <a:off x="3048825" y="5949854"/>
            <a:ext cx="3179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の画像は</a:t>
            </a:r>
            <a:r>
              <a:rPr kumimoji="1" lang="en-US" altLang="ja-JP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ndroid</a:t>
            </a:r>
            <a:r>
              <a:rPr kumimoji="1" lang="ja-JP" altLang="en-US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のものです。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B3B88BCA-A33B-4D2A-BF8B-824DBDD23954}"/>
              </a:ext>
            </a:extLst>
          </p:cNvPr>
          <p:cNvSpPr txBox="1"/>
          <p:nvPr/>
        </p:nvSpPr>
        <p:spPr>
          <a:xfrm>
            <a:off x="3210241" y="1710537"/>
            <a:ext cx="3179974" cy="2600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lvl="0" indent="-489600">
              <a:defRPr/>
            </a:pPr>
            <a:endParaRPr lang="en-US" altLang="ja-JP" sz="12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者証明用電子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証明書の数字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桁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ワードを入力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次へ」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lvl="0" indent="-489600">
              <a:defRPr/>
            </a:pPr>
            <a:endParaRPr lang="en-US" altLang="ja-JP" sz="5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パスワードは、</a:t>
            </a:r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回連続して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間違えるとロックがかかるので、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ご注意ください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635340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31D6A57B-E0E8-4443-B7E1-11D5C3F97B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31D6A57B-E0E8-4443-B7E1-11D5C3F97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295829" y="1412776"/>
            <a:ext cx="8552341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pc="-150" dirty="0"/>
              <a:t>マイナンバーカードの利用者証明用電子証明書の認証を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15" name="object 6" descr="マイナンバーカードをスマートフォン裏面に密着させているイラスト"/>
          <p:cNvSpPr/>
          <p:nvPr/>
        </p:nvSpPr>
        <p:spPr>
          <a:xfrm>
            <a:off x="3069588" y="2211774"/>
            <a:ext cx="1738890" cy="3113055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7"/>
          <p:cNvSpPr/>
          <p:nvPr/>
        </p:nvSpPr>
        <p:spPr>
          <a:xfrm>
            <a:off x="2953643" y="2212653"/>
            <a:ext cx="1854835" cy="3046730"/>
          </a:xfrm>
          <a:custGeom>
            <a:avLst/>
            <a:gdLst/>
            <a:ahLst/>
            <a:cxnLst/>
            <a:rect l="l" t="t" r="r" b="b"/>
            <a:pathLst>
              <a:path w="1854835" h="3046729">
                <a:moveTo>
                  <a:pt x="1851660" y="3046476"/>
                </a:moveTo>
                <a:lnTo>
                  <a:pt x="3048" y="3046476"/>
                </a:lnTo>
                <a:lnTo>
                  <a:pt x="0" y="3044952"/>
                </a:lnTo>
                <a:lnTo>
                  <a:pt x="0" y="3048"/>
                </a:lnTo>
                <a:lnTo>
                  <a:pt x="3048" y="0"/>
                </a:lnTo>
                <a:lnTo>
                  <a:pt x="1851660" y="0"/>
                </a:lnTo>
                <a:lnTo>
                  <a:pt x="1854708" y="3048"/>
                </a:lnTo>
                <a:lnTo>
                  <a:pt x="1854708" y="6096"/>
                </a:lnTo>
                <a:lnTo>
                  <a:pt x="10668" y="6096"/>
                </a:lnTo>
                <a:lnTo>
                  <a:pt x="6096" y="10668"/>
                </a:lnTo>
                <a:lnTo>
                  <a:pt x="10668" y="10668"/>
                </a:lnTo>
                <a:lnTo>
                  <a:pt x="10668" y="3037332"/>
                </a:lnTo>
                <a:lnTo>
                  <a:pt x="6096" y="3037332"/>
                </a:lnTo>
                <a:lnTo>
                  <a:pt x="10668" y="3041904"/>
                </a:lnTo>
                <a:lnTo>
                  <a:pt x="1854708" y="3041904"/>
                </a:lnTo>
                <a:lnTo>
                  <a:pt x="1854708" y="3044952"/>
                </a:lnTo>
                <a:lnTo>
                  <a:pt x="1851660" y="3046476"/>
                </a:lnTo>
                <a:close/>
              </a:path>
              <a:path w="1854835" h="3046729">
                <a:moveTo>
                  <a:pt x="10668" y="10668"/>
                </a:moveTo>
                <a:lnTo>
                  <a:pt x="6096" y="10668"/>
                </a:lnTo>
                <a:lnTo>
                  <a:pt x="10668" y="6096"/>
                </a:lnTo>
                <a:lnTo>
                  <a:pt x="10668" y="10668"/>
                </a:lnTo>
                <a:close/>
              </a:path>
              <a:path w="1854835" h="3046729">
                <a:moveTo>
                  <a:pt x="1844040" y="10668"/>
                </a:moveTo>
                <a:lnTo>
                  <a:pt x="10668" y="10668"/>
                </a:lnTo>
                <a:lnTo>
                  <a:pt x="10668" y="6096"/>
                </a:lnTo>
                <a:lnTo>
                  <a:pt x="1844040" y="6096"/>
                </a:lnTo>
                <a:lnTo>
                  <a:pt x="1844040" y="10668"/>
                </a:lnTo>
                <a:close/>
              </a:path>
              <a:path w="1854835" h="3046729">
                <a:moveTo>
                  <a:pt x="1844040" y="3041904"/>
                </a:moveTo>
                <a:lnTo>
                  <a:pt x="1844040" y="6096"/>
                </a:lnTo>
                <a:lnTo>
                  <a:pt x="1850136" y="10668"/>
                </a:lnTo>
                <a:lnTo>
                  <a:pt x="1854708" y="10668"/>
                </a:lnTo>
                <a:lnTo>
                  <a:pt x="1854708" y="3037332"/>
                </a:lnTo>
                <a:lnTo>
                  <a:pt x="1850136" y="3037332"/>
                </a:lnTo>
                <a:lnTo>
                  <a:pt x="1844040" y="3041904"/>
                </a:lnTo>
                <a:close/>
              </a:path>
              <a:path w="1854835" h="3046729">
                <a:moveTo>
                  <a:pt x="1854708" y="10668"/>
                </a:moveTo>
                <a:lnTo>
                  <a:pt x="1850136" y="10668"/>
                </a:lnTo>
                <a:lnTo>
                  <a:pt x="1844040" y="6096"/>
                </a:lnTo>
                <a:lnTo>
                  <a:pt x="1854708" y="6096"/>
                </a:lnTo>
                <a:lnTo>
                  <a:pt x="1854708" y="10668"/>
                </a:lnTo>
                <a:close/>
              </a:path>
              <a:path w="1854835" h="3046729">
                <a:moveTo>
                  <a:pt x="10668" y="3041904"/>
                </a:moveTo>
                <a:lnTo>
                  <a:pt x="6096" y="3037332"/>
                </a:lnTo>
                <a:lnTo>
                  <a:pt x="10668" y="3037332"/>
                </a:lnTo>
                <a:lnTo>
                  <a:pt x="10668" y="3041904"/>
                </a:lnTo>
                <a:close/>
              </a:path>
              <a:path w="1854835" h="3046729">
                <a:moveTo>
                  <a:pt x="1844040" y="3041904"/>
                </a:moveTo>
                <a:lnTo>
                  <a:pt x="10668" y="3041904"/>
                </a:lnTo>
                <a:lnTo>
                  <a:pt x="10668" y="3037332"/>
                </a:lnTo>
                <a:lnTo>
                  <a:pt x="1844040" y="3037332"/>
                </a:lnTo>
                <a:lnTo>
                  <a:pt x="1844040" y="3041904"/>
                </a:lnTo>
                <a:close/>
              </a:path>
              <a:path w="1854835" h="3046729">
                <a:moveTo>
                  <a:pt x="1854708" y="3041904"/>
                </a:moveTo>
                <a:lnTo>
                  <a:pt x="1844040" y="3041904"/>
                </a:lnTo>
                <a:lnTo>
                  <a:pt x="1850136" y="3037332"/>
                </a:lnTo>
                <a:lnTo>
                  <a:pt x="1854708" y="3037332"/>
                </a:lnTo>
                <a:lnTo>
                  <a:pt x="1854708" y="3041904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タイトル 1"/>
          <p:cNvSpPr>
            <a:spLocks noGrp="1"/>
          </p:cNvSpPr>
          <p:nvPr>
            <p:ph type="ctrTitle"/>
          </p:nvPr>
        </p:nvSpPr>
        <p:spPr>
          <a:xfrm>
            <a:off x="1767718" y="350634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AF455955-1D12-4621-915C-A2925C504849}"/>
              </a:ext>
            </a:extLst>
          </p:cNvPr>
          <p:cNvSpPr txBox="1"/>
          <p:nvPr/>
        </p:nvSpPr>
        <p:spPr>
          <a:xfrm>
            <a:off x="1655856" y="5701659"/>
            <a:ext cx="16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</a:t>
            </a:r>
            <a:endParaRPr kumimoji="1"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ードの</a:t>
            </a:r>
            <a:endParaRPr kumimoji="1"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取</a:t>
            </a:r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毎の</a:t>
            </a:r>
            <a:endParaRPr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ード位置の情報</a:t>
            </a:r>
            <a:endParaRPr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FB6ED0C3-F8A3-4A02-80B4-167A994935A3}"/>
              </a:ext>
            </a:extLst>
          </p:cNvPr>
          <p:cNvSpPr txBox="1"/>
          <p:nvPr/>
        </p:nvSpPr>
        <p:spPr>
          <a:xfrm>
            <a:off x="395536" y="5517232"/>
            <a:ext cx="10559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Android</a:t>
            </a:r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</a:t>
            </a:r>
          </a:p>
        </p:txBody>
      </p:sp>
      <p:pic>
        <p:nvPicPr>
          <p:cNvPr id="42" name="図 41" descr="iPhone機種のマイナンバーカード読み取りのQRコード">
            <a:extLst>
              <a:ext uri="{FF2B5EF4-FFF2-40B4-BE49-F238E27FC236}">
                <a16:creationId xmlns:a16="http://schemas.microsoft.com/office/drawing/2014/main" id="{D8187CDE-45D0-4668-8CB6-44CC2A5673C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9094" y="5670302"/>
            <a:ext cx="679429" cy="679429"/>
          </a:xfrm>
          <a:prstGeom prst="rect">
            <a:avLst/>
          </a:prstGeom>
        </p:spPr>
      </p:pic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A714DF15-629B-4094-804E-8866151CC3DF}"/>
              </a:ext>
            </a:extLst>
          </p:cNvPr>
          <p:cNvSpPr txBox="1"/>
          <p:nvPr/>
        </p:nvSpPr>
        <p:spPr>
          <a:xfrm>
            <a:off x="2843808" y="5528807"/>
            <a:ext cx="9500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iPhone</a:t>
            </a:r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</a:t>
            </a:r>
          </a:p>
        </p:txBody>
      </p:sp>
      <p:sp>
        <p:nvSpPr>
          <p:cNvPr id="44" name="矢印: 右 43">
            <a:extLst>
              <a:ext uri="{FF2B5EF4-FFF2-40B4-BE49-F238E27FC236}">
                <a16:creationId xmlns:a16="http://schemas.microsoft.com/office/drawing/2014/main" id="{83DD5EB5-B8AB-406B-B369-1BF27F1E4FD6}"/>
              </a:ext>
            </a:extLst>
          </p:cNvPr>
          <p:cNvSpPr/>
          <p:nvPr/>
        </p:nvSpPr>
        <p:spPr>
          <a:xfrm>
            <a:off x="2555037" y="5905687"/>
            <a:ext cx="348912" cy="1332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5" name="矢印: 左 44">
            <a:extLst>
              <a:ext uri="{FF2B5EF4-FFF2-40B4-BE49-F238E27FC236}">
                <a16:creationId xmlns:a16="http://schemas.microsoft.com/office/drawing/2014/main" id="{D6807AAB-8EC3-4A75-8FA9-41E147E4670D}"/>
              </a:ext>
            </a:extLst>
          </p:cNvPr>
          <p:cNvSpPr/>
          <p:nvPr/>
        </p:nvSpPr>
        <p:spPr>
          <a:xfrm>
            <a:off x="1235420" y="5905687"/>
            <a:ext cx="388629" cy="13328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4212AF5C-B939-475C-A1AF-81ADFFC92287}"/>
              </a:ext>
            </a:extLst>
          </p:cNvPr>
          <p:cNvSpPr txBox="1"/>
          <p:nvPr/>
        </p:nvSpPr>
        <p:spPr>
          <a:xfrm>
            <a:off x="255324" y="1801322"/>
            <a:ext cx="2851638" cy="3667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ンバーカー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スマホ裏面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密着させ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しばらく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待ちましょう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認証に成功した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ことが表示され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申込みが完了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終了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BFC75D9E-0DFD-4F0F-BFFA-0A3D532B05AB}"/>
              </a:ext>
            </a:extLst>
          </p:cNvPr>
          <p:cNvSpPr txBox="1"/>
          <p:nvPr/>
        </p:nvSpPr>
        <p:spPr>
          <a:xfrm>
            <a:off x="1573888" y="5528807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＜参考＞</a:t>
            </a:r>
          </a:p>
        </p:txBody>
      </p:sp>
      <p:pic>
        <p:nvPicPr>
          <p:cNvPr id="31" name="図 30" descr="Android機種のマイナンバーカード読み取りのQRコード">
            <a:extLst>
              <a:ext uri="{FF2B5EF4-FFF2-40B4-BE49-F238E27FC236}">
                <a16:creationId xmlns:a16="http://schemas.microsoft.com/office/drawing/2014/main" id="{943E50B0-621A-4443-8240-68C7935610A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213" y="5675178"/>
            <a:ext cx="658616" cy="658616"/>
          </a:xfrm>
          <a:prstGeom prst="rect">
            <a:avLst/>
          </a:prstGeom>
        </p:spPr>
      </p:pic>
      <p:pic>
        <p:nvPicPr>
          <p:cNvPr id="9" name="図 8" descr="「終了」ボタンのある画面の画像">
            <a:extLst>
              <a:ext uri="{FF2B5EF4-FFF2-40B4-BE49-F238E27FC236}">
                <a16:creationId xmlns:a16="http://schemas.microsoft.com/office/drawing/2014/main" id="{6304B04C-2EFB-40E1-AC3C-7E8C9D40071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9632" y="2211773"/>
            <a:ext cx="1723769" cy="311788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2" name="正方形/長方形 31"/>
          <p:cNvSpPr/>
          <p:nvPr/>
        </p:nvSpPr>
        <p:spPr>
          <a:xfrm>
            <a:off x="7130826" y="4315274"/>
            <a:ext cx="1071075" cy="38168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E09723C0-CF5F-4214-A6EF-186B6F3688AA}"/>
              </a:ext>
            </a:extLst>
          </p:cNvPr>
          <p:cNvSpPr txBox="1"/>
          <p:nvPr/>
        </p:nvSpPr>
        <p:spPr>
          <a:xfrm>
            <a:off x="4925582" y="5726929"/>
            <a:ext cx="2644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画面に触れたまま</a:t>
            </a:r>
            <a:endParaRPr kumimoji="1" lang="en-US" altLang="ja-JP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指を上に移動させ、下の画面を表示</a:t>
            </a:r>
          </a:p>
        </p:txBody>
      </p:sp>
      <p:grpSp>
        <p:nvGrpSpPr>
          <p:cNvPr id="34" name="図形グループ 33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876256" y="4071159"/>
            <a:ext cx="492443" cy="461665"/>
            <a:chOff x="7516281" y="2673548"/>
            <a:chExt cx="492443" cy="461665"/>
          </a:xfrm>
        </p:grpSpPr>
        <p:sp>
          <p:nvSpPr>
            <p:cNvPr id="35" name="円/楕円 3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❽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7" name="図形グループ 3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2843808" y="1942883"/>
            <a:ext cx="492443" cy="461665"/>
            <a:chOff x="7516281" y="2673548"/>
            <a:chExt cx="492443" cy="461665"/>
          </a:xfrm>
        </p:grpSpPr>
        <p:sp>
          <p:nvSpPr>
            <p:cNvPr id="38" name="円/楕円 3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正方形/長方形 4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❼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" name="グループ化 1" descr="「登録完了」画面で、次の画面を表示させるため、下から上に指を動かしている画像">
            <a:extLst>
              <a:ext uri="{FF2B5EF4-FFF2-40B4-BE49-F238E27FC236}">
                <a16:creationId xmlns:a16="http://schemas.microsoft.com/office/drawing/2014/main" id="{E04AE487-2CE8-44F8-8FA3-861F7217D9AF}"/>
              </a:ext>
            </a:extLst>
          </p:cNvPr>
          <p:cNvGrpSpPr/>
          <p:nvPr/>
        </p:nvGrpSpPr>
        <p:grpSpPr>
          <a:xfrm>
            <a:off x="4942193" y="2212983"/>
            <a:ext cx="1738890" cy="3385427"/>
            <a:chOff x="4942193" y="2352319"/>
            <a:chExt cx="1738890" cy="3385427"/>
          </a:xfrm>
        </p:grpSpPr>
        <p:pic>
          <p:nvPicPr>
            <p:cNvPr id="5" name="図 4" descr="テキスト, 手紙&#10;&#10;自動的に生成された説明">
              <a:extLst>
                <a:ext uri="{FF2B5EF4-FFF2-40B4-BE49-F238E27FC236}">
                  <a16:creationId xmlns:a16="http://schemas.microsoft.com/office/drawing/2014/main" id="{43019156-E6E8-4F75-8E61-7FA5CF2AF4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42193" y="2352319"/>
              <a:ext cx="1738890" cy="311667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2" name="上矢印 51"/>
            <p:cNvSpPr>
              <a:spLocks noChangeAspect="1"/>
            </p:cNvSpPr>
            <p:nvPr/>
          </p:nvSpPr>
          <p:spPr>
            <a:xfrm>
              <a:off x="5508104" y="3861048"/>
              <a:ext cx="631902" cy="1811843"/>
            </a:xfrm>
            <a:prstGeom prst="upArrow">
              <a:avLst/>
            </a:prstGeom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7" name="図 46"/>
            <p:cNvPicPr>
              <a:picLocks noChangeAspect="1"/>
            </p:cNvPicPr>
            <p:nvPr/>
          </p:nvPicPr>
          <p:blipFill>
            <a:blip r:embed="rId1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5905660" y="5231096"/>
              <a:ext cx="473301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34710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F2262C4-7EA0-4121-A975-712A6A2076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F2262C4-7EA0-4121-A975-712A6A2076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85944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マイナ保険証の利用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23" name="字幕 22">
            <a:extLst>
              <a:ext uri="{FF2B5EF4-FFF2-40B4-BE49-F238E27FC236}">
                <a16:creationId xmlns:a16="http://schemas.microsoft.com/office/drawing/2014/main" id="{7A55B0A7-F63F-4A43-B4D7-7C2B13BF2E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3528" y="1368000"/>
            <a:ext cx="7571303" cy="1141851"/>
          </a:xfr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ja-JP" altLang="en-US" dirty="0"/>
              <a:t>「マイナ受付</a:t>
            </a:r>
            <a:r>
              <a:rPr lang="ja-JP" altLang="en-US" spc="-750" dirty="0"/>
              <a:t>」</a:t>
            </a:r>
            <a:r>
              <a:rPr lang="ja-JP" altLang="en-US" dirty="0"/>
              <a:t>のステッカーやポスターが貼ってある</a:t>
            </a:r>
            <a:endParaRPr lang="en-US" altLang="ja-JP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ja-JP" dirty="0"/>
              <a:t>  </a:t>
            </a:r>
            <a:r>
              <a:rPr lang="ja-JP" altLang="en-US" dirty="0"/>
              <a:t>医療機</a:t>
            </a:r>
            <a:r>
              <a:rPr lang="ja-JP" altLang="en-US" spc="-500" dirty="0"/>
              <a:t>関・</a:t>
            </a:r>
            <a:r>
              <a:rPr lang="ja-JP" altLang="en-US" dirty="0"/>
              <a:t>薬局で利用できます。</a:t>
            </a:r>
            <a:endParaRPr lang="en-US" altLang="ja-JP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ja-JP" sz="1400" dirty="0">
                <a:solidFill>
                  <a:srgbClr val="009650"/>
                </a:solidFill>
              </a:rPr>
              <a:t>    </a:t>
            </a:r>
            <a:r>
              <a:rPr lang="ja-JP" altLang="en-US" sz="1400" dirty="0">
                <a:solidFill>
                  <a:srgbClr val="009650"/>
                </a:solidFill>
              </a:rPr>
              <a:t>利用できる医療機関・薬局等については、厚生労働省のホームページで公開しています。</a:t>
            </a:r>
            <a:endParaRPr lang="ja-JP" altLang="en-US" sz="1400" dirty="0"/>
          </a:p>
        </p:txBody>
      </p:sp>
      <p:pic>
        <p:nvPicPr>
          <p:cNvPr id="6" name="図 5" descr="「マイナ受付」のステッカーの画像">
            <a:extLst>
              <a:ext uri="{FF2B5EF4-FFF2-40B4-BE49-F238E27FC236}">
                <a16:creationId xmlns:a16="http://schemas.microsoft.com/office/drawing/2014/main" id="{56D8BF66-6681-4A1B-B4E2-5B3E1D72AEC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0380" y="3055522"/>
            <a:ext cx="2197564" cy="210167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30344425-4AFF-4565-AC79-385EEC67433C}"/>
              </a:ext>
            </a:extLst>
          </p:cNvPr>
          <p:cNvSpPr txBox="1">
            <a:spLocks/>
          </p:cNvSpPr>
          <p:nvPr/>
        </p:nvSpPr>
        <p:spPr>
          <a:xfrm>
            <a:off x="1800144" y="2656859"/>
            <a:ext cx="2771856" cy="4108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テッカー</a:t>
            </a:r>
          </a:p>
        </p:txBody>
      </p:sp>
      <p:sp>
        <p:nvSpPr>
          <p:cNvPr id="20" name="サブタイトル 2">
            <a:extLst>
              <a:ext uri="{FF2B5EF4-FFF2-40B4-BE49-F238E27FC236}">
                <a16:creationId xmlns:a16="http://schemas.microsoft.com/office/drawing/2014/main" id="{B98D645B-F89B-4717-8D2F-DE9570A8385E}"/>
              </a:ext>
            </a:extLst>
          </p:cNvPr>
          <p:cNvSpPr txBox="1">
            <a:spLocks/>
          </p:cNvSpPr>
          <p:nvPr/>
        </p:nvSpPr>
        <p:spPr>
          <a:xfrm>
            <a:off x="4517256" y="2656859"/>
            <a:ext cx="2771856" cy="4108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ポスター</a:t>
            </a:r>
          </a:p>
        </p:txBody>
      </p:sp>
      <p:pic>
        <p:nvPicPr>
          <p:cNvPr id="7" name="図 6" descr="厚生労働省のホームページ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871" y="4762941"/>
            <a:ext cx="1003307" cy="1003307"/>
          </a:xfrm>
          <a:prstGeom prst="rect">
            <a:avLst/>
          </a:prstGeom>
        </p:spPr>
      </p:pic>
      <p:pic>
        <p:nvPicPr>
          <p:cNvPr id="8" name="図 7" descr="「マイナ受付」のポスターの画像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3068960"/>
            <a:ext cx="2160240" cy="304417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病院へ行くマイナちゃんのイラスト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27" t="26901" r="5621" b="30050"/>
          <a:stretch/>
        </p:blipFill>
        <p:spPr>
          <a:xfrm>
            <a:off x="6875904" y="3789040"/>
            <a:ext cx="1800000" cy="1250847"/>
          </a:xfrm>
          <a:prstGeom prst="rect">
            <a:avLst/>
          </a:prstGeom>
        </p:spPr>
      </p:pic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C6424573-62A3-5BB7-0E84-D937D5643B17}"/>
              </a:ext>
            </a:extLst>
          </p:cNvPr>
          <p:cNvSpPr txBox="1">
            <a:spLocks/>
          </p:cNvSpPr>
          <p:nvPr/>
        </p:nvSpPr>
        <p:spPr>
          <a:xfrm>
            <a:off x="595871" y="5819186"/>
            <a:ext cx="2771856" cy="49013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健康保険証利用対応の</a:t>
            </a:r>
            <a:endParaRPr lang="en-US" altLang="ja-JP" sz="1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医療機関・薬局についての案内</a:t>
            </a:r>
          </a:p>
        </p:txBody>
      </p:sp>
    </p:spTree>
    <p:extLst>
      <p:ext uri="{BB962C8B-B14F-4D97-AF65-F5344CB8AC3E}">
        <p14:creationId xmlns:p14="http://schemas.microsoft.com/office/powerpoint/2010/main" val="15129584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F2262C4-7EA0-4121-A975-712A6A2076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F2262C4-7EA0-4121-A975-712A6A2076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85944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マイナ保険証の利用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23" name="字幕 22">
            <a:extLst>
              <a:ext uri="{FF2B5EF4-FFF2-40B4-BE49-F238E27FC236}">
                <a16:creationId xmlns:a16="http://schemas.microsoft.com/office/drawing/2014/main" id="{7A55B0A7-F63F-4A43-B4D7-7C2B13BF2E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552" y="1408942"/>
            <a:ext cx="6032421" cy="1415772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医療機関でマイナンバーカードを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カードリーダーにかざすだけで使えます。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400" dirty="0">
                <a:solidFill>
                  <a:srgbClr val="009650"/>
                </a:solidFill>
              </a:rPr>
              <a:t>かざした後、顔写真で本人を確認します。</a:t>
            </a:r>
            <a:endParaRPr lang="ja-JP" altLang="en-US" sz="1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ja-JP" altLang="en-US" dirty="0"/>
          </a:p>
        </p:txBody>
      </p:sp>
      <p:pic>
        <p:nvPicPr>
          <p:cNvPr id="7" name="図 6" descr="医療機関でマイナンバーカードを使うイメージのイラスト">
            <a:extLst>
              <a:ext uri="{FF2B5EF4-FFF2-40B4-BE49-F238E27FC236}">
                <a16:creationId xmlns:a16="http://schemas.microsoft.com/office/drawing/2014/main" id="{FD5EFFC2-3151-4820-85A8-910D8B18F8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3601" y="2780928"/>
            <a:ext cx="7067550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2849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保険証の利用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39552" y="1412776"/>
            <a:ext cx="5724644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kumimoji="1" lang="ja-JP" altLang="en-US" dirty="0"/>
              <a:t>顔認証付きカードリーダーを使い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399782" y="2071397"/>
            <a:ext cx="3222666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顔認証付きカー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リーダーにマイナンバー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カードを置く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本人確認の方法を選ぶ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顔認証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または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暗証番号を入力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31" name="図 30" descr="顔認証付きカードリーダーにマイナンバーカードを置いている画像">
            <a:extLst>
              <a:ext uri="{FF2B5EF4-FFF2-40B4-BE49-F238E27FC236}">
                <a16:creationId xmlns:a16="http://schemas.microsoft.com/office/drawing/2014/main" id="{C3B3DAE3-D941-4B5A-A098-DF0785BF7C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457" y="2358712"/>
            <a:ext cx="1805709" cy="80324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2" name="図 31" descr="本人確認の方法を選択する画面の画像">
            <a:extLst>
              <a:ext uri="{FF2B5EF4-FFF2-40B4-BE49-F238E27FC236}">
                <a16:creationId xmlns:a16="http://schemas.microsoft.com/office/drawing/2014/main" id="{6DBB2293-8A5E-4349-995A-EA7C990AE7A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6705" y="3440739"/>
            <a:ext cx="1527325" cy="2251042"/>
          </a:xfrm>
          <a:prstGeom prst="rect">
            <a:avLst/>
          </a:prstGeom>
          <a:ln>
            <a:noFill/>
          </a:ln>
        </p:spPr>
      </p:pic>
      <p:grpSp>
        <p:nvGrpSpPr>
          <p:cNvPr id="33" name="グループ化 32" descr="顔認証の画面の画像">
            <a:extLst>
              <a:ext uri="{FF2B5EF4-FFF2-40B4-BE49-F238E27FC236}">
                <a16:creationId xmlns:a16="http://schemas.microsoft.com/office/drawing/2014/main" id="{720104BE-20C2-4E87-BBA8-BFE2B16D82FD}"/>
              </a:ext>
            </a:extLst>
          </p:cNvPr>
          <p:cNvGrpSpPr/>
          <p:nvPr/>
        </p:nvGrpSpPr>
        <p:grpSpPr>
          <a:xfrm>
            <a:off x="6795595" y="2349769"/>
            <a:ext cx="1132472" cy="1215383"/>
            <a:chOff x="4943848" y="1498399"/>
            <a:chExt cx="1409772" cy="1485976"/>
          </a:xfrm>
        </p:grpSpPr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3616F5D4-FF55-481D-8432-A84E8B4EA6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43848" y="1498399"/>
              <a:ext cx="1409772" cy="1485976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grpSp>
          <p:nvGrpSpPr>
            <p:cNvPr id="35" name="グループ化 34">
              <a:extLst>
                <a:ext uri="{FF2B5EF4-FFF2-40B4-BE49-F238E27FC236}">
                  <a16:creationId xmlns:a16="http://schemas.microsoft.com/office/drawing/2014/main" id="{2BE903EF-7E7A-4FA7-A819-FC32B6786D77}"/>
                </a:ext>
              </a:extLst>
            </p:cNvPr>
            <p:cNvGrpSpPr/>
            <p:nvPr/>
          </p:nvGrpSpPr>
          <p:grpSpPr>
            <a:xfrm>
              <a:off x="5035460" y="1545699"/>
              <a:ext cx="1165644" cy="1302604"/>
              <a:chOff x="5349710" y="3304193"/>
              <a:chExt cx="1003910" cy="973517"/>
            </a:xfrm>
          </p:grpSpPr>
          <p:sp>
            <p:nvSpPr>
              <p:cNvPr id="36" name="L 字 35">
                <a:extLst>
                  <a:ext uri="{FF2B5EF4-FFF2-40B4-BE49-F238E27FC236}">
                    <a16:creationId xmlns:a16="http://schemas.microsoft.com/office/drawing/2014/main" id="{A71B4F38-8E80-42AD-8A55-50B0D56B31CB}"/>
                  </a:ext>
                </a:extLst>
              </p:cNvPr>
              <p:cNvSpPr/>
              <p:nvPr/>
            </p:nvSpPr>
            <p:spPr bwMode="auto">
              <a:xfrm>
                <a:off x="5349710" y="4040455"/>
                <a:ext cx="282720" cy="237255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7" name="L 字 36">
                <a:extLst>
                  <a:ext uri="{FF2B5EF4-FFF2-40B4-BE49-F238E27FC236}">
                    <a16:creationId xmlns:a16="http://schemas.microsoft.com/office/drawing/2014/main" id="{24B3765C-A8BB-42F2-A697-1CDEDB3750D9}"/>
                  </a:ext>
                </a:extLst>
              </p:cNvPr>
              <p:cNvSpPr/>
              <p:nvPr/>
            </p:nvSpPr>
            <p:spPr bwMode="auto">
              <a:xfrm rot="16200000">
                <a:off x="6093633" y="4017723"/>
                <a:ext cx="237254" cy="282720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8" name="L 字 37">
                <a:extLst>
                  <a:ext uri="{FF2B5EF4-FFF2-40B4-BE49-F238E27FC236}">
                    <a16:creationId xmlns:a16="http://schemas.microsoft.com/office/drawing/2014/main" id="{EA4552C8-94D5-42FE-A3D7-2B6891768F91}"/>
                  </a:ext>
                </a:extLst>
              </p:cNvPr>
              <p:cNvSpPr/>
              <p:nvPr/>
            </p:nvSpPr>
            <p:spPr bwMode="auto">
              <a:xfrm rot="5400000">
                <a:off x="5372442" y="3281461"/>
                <a:ext cx="237255" cy="282720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9" name="L 字 38">
                <a:extLst>
                  <a:ext uri="{FF2B5EF4-FFF2-40B4-BE49-F238E27FC236}">
                    <a16:creationId xmlns:a16="http://schemas.microsoft.com/office/drawing/2014/main" id="{B9284ADF-B0C5-40EE-A3ED-6C98FCBAF06A}"/>
                  </a:ext>
                </a:extLst>
              </p:cNvPr>
              <p:cNvSpPr/>
              <p:nvPr/>
            </p:nvSpPr>
            <p:spPr bwMode="auto">
              <a:xfrm rot="10800000">
                <a:off x="6070900" y="3304193"/>
                <a:ext cx="282720" cy="237255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</p:grpSp>
      </p:grp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EE1322E6-0C6C-4F60-845E-6A27DB918E58}"/>
              </a:ext>
            </a:extLst>
          </p:cNvPr>
          <p:cNvSpPr/>
          <p:nvPr/>
        </p:nvSpPr>
        <p:spPr>
          <a:xfrm>
            <a:off x="4118507" y="4206194"/>
            <a:ext cx="1368152" cy="32362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F0922CB2-5E6D-41F3-B753-043C5B3E8608}"/>
              </a:ext>
            </a:extLst>
          </p:cNvPr>
          <p:cNvSpPr/>
          <p:nvPr/>
        </p:nvSpPr>
        <p:spPr>
          <a:xfrm>
            <a:off x="4118506" y="4585898"/>
            <a:ext cx="1368153" cy="32362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0" name="図 39" descr="暗証番号入力画面の画像">
            <a:extLst>
              <a:ext uri="{FF2B5EF4-FFF2-40B4-BE49-F238E27FC236}">
                <a16:creationId xmlns:a16="http://schemas.microsoft.com/office/drawing/2014/main" id="{9E03791A-E08D-4A66-8080-B09BC667724C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4192" y="4077072"/>
            <a:ext cx="1132472" cy="1636370"/>
          </a:xfrm>
          <a:prstGeom prst="rect">
            <a:avLst/>
          </a:prstGeom>
        </p:spPr>
      </p:pic>
      <p:sp>
        <p:nvSpPr>
          <p:cNvPr id="69" name="テキスト ボックス 68">
            <a:extLst>
              <a:ext uri="{FF2B5EF4-FFF2-40B4-BE49-F238E27FC236}">
                <a16:creationId xmlns:a16="http://schemas.microsoft.com/office/drawing/2014/main" id="{1025F68B-342B-4C05-96F3-DDB27B19409D}"/>
              </a:ext>
            </a:extLst>
          </p:cNvPr>
          <p:cNvSpPr txBox="1"/>
          <p:nvPr/>
        </p:nvSpPr>
        <p:spPr>
          <a:xfrm>
            <a:off x="6601236" y="3605976"/>
            <a:ext cx="1355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4083"/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顔認証</a:t>
            </a:r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400" b="1" dirty="0">
              <a:solidFill>
                <a:srgbClr val="0096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1" name="テキスト ボックス 70">
            <a:extLst>
              <a:ext uri="{FF2B5EF4-FFF2-40B4-BE49-F238E27FC236}">
                <a16:creationId xmlns:a16="http://schemas.microsoft.com/office/drawing/2014/main" id="{04C897B5-25CB-4C54-A20B-6817B57E6314}"/>
              </a:ext>
            </a:extLst>
          </p:cNvPr>
          <p:cNvSpPr txBox="1"/>
          <p:nvPr/>
        </p:nvSpPr>
        <p:spPr>
          <a:xfrm>
            <a:off x="6605121" y="5762752"/>
            <a:ext cx="17112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4083"/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暗証番号入力</a:t>
            </a:r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400" b="1" dirty="0">
              <a:solidFill>
                <a:srgbClr val="0096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46" name="図形グループ 4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578672" y="2165536"/>
            <a:ext cx="492444" cy="461665"/>
            <a:chOff x="7516280" y="2673548"/>
            <a:chExt cx="492444" cy="461665"/>
          </a:xfrm>
        </p:grpSpPr>
        <p:sp>
          <p:nvSpPr>
            <p:cNvPr id="47" name="円/楕円 4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9" name="図形グループ 4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842088" y="3291632"/>
            <a:ext cx="492443" cy="461665"/>
            <a:chOff x="7516281" y="2673548"/>
            <a:chExt cx="492443" cy="461665"/>
          </a:xfrm>
        </p:grpSpPr>
        <p:sp>
          <p:nvSpPr>
            <p:cNvPr id="50" name="円/楕円 4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2" name="図形グループ 51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779912" y="2165536"/>
            <a:ext cx="492443" cy="461665"/>
            <a:chOff x="7516281" y="2673548"/>
            <a:chExt cx="492443" cy="461665"/>
          </a:xfrm>
        </p:grpSpPr>
        <p:sp>
          <p:nvSpPr>
            <p:cNvPr id="53" name="円/楕円 52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正方形/長方形 6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10" name="カギ線コネクタ 9"/>
          <p:cNvCxnSpPr/>
          <p:nvPr/>
        </p:nvCxnSpPr>
        <p:spPr>
          <a:xfrm flipV="1">
            <a:off x="5480009" y="2950120"/>
            <a:ext cx="1332000" cy="1440000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矢印コネクタ 11"/>
          <p:cNvCxnSpPr/>
          <p:nvPr/>
        </p:nvCxnSpPr>
        <p:spPr>
          <a:xfrm>
            <a:off x="5475374" y="4708383"/>
            <a:ext cx="133560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234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図 41" descr="特定検診情報についての同意事項を確認する画面の画像">
            <a:extLst>
              <a:ext uri="{FF2B5EF4-FFF2-40B4-BE49-F238E27FC236}">
                <a16:creationId xmlns:a16="http://schemas.microsoft.com/office/drawing/2014/main" id="{7A3D82D3-D00A-40FD-AB4A-EE7D99CA97B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263" y="3453973"/>
            <a:ext cx="1559870" cy="21435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3" name="図 42" descr="薬剤情報についての同意事項を確認する画面の画像">
            <a:extLst>
              <a:ext uri="{FF2B5EF4-FFF2-40B4-BE49-F238E27FC236}">
                <a16:creationId xmlns:a16="http://schemas.microsoft.com/office/drawing/2014/main" id="{1867D1D9-B975-4BBE-B5FA-F7C7A5FA5FA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77" b="3200"/>
          <a:stretch/>
        </p:blipFill>
        <p:spPr>
          <a:xfrm>
            <a:off x="5486191" y="3453973"/>
            <a:ext cx="1556009" cy="214357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保険証の利用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39552" y="1412776"/>
            <a:ext cx="5724644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kumimoji="1" lang="ja-JP" altLang="en-US" dirty="0"/>
              <a:t>顔認証付きカードリーダーを使い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357674" y="1815328"/>
            <a:ext cx="42710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各種同意事項の確認・選択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EE1322E6-0C6C-4F60-845E-6A27DB918E58}"/>
              </a:ext>
            </a:extLst>
          </p:cNvPr>
          <p:cNvSpPr/>
          <p:nvPr/>
        </p:nvSpPr>
        <p:spPr>
          <a:xfrm>
            <a:off x="1902122" y="4779085"/>
            <a:ext cx="1368152" cy="70431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F0922CB2-5E6D-41F3-B753-043C5B3E8608}"/>
              </a:ext>
            </a:extLst>
          </p:cNvPr>
          <p:cNvSpPr/>
          <p:nvPr/>
        </p:nvSpPr>
        <p:spPr>
          <a:xfrm>
            <a:off x="5580118" y="4716453"/>
            <a:ext cx="1368153" cy="76191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FA8BBD20-CD65-4C27-A213-B0E38D1DC5EC}"/>
              </a:ext>
            </a:extLst>
          </p:cNvPr>
          <p:cNvSpPr txBox="1">
            <a:spLocks noChangeAspect="1"/>
          </p:cNvSpPr>
          <p:nvPr/>
        </p:nvSpPr>
        <p:spPr>
          <a:xfrm>
            <a:off x="1174272" y="2404889"/>
            <a:ext cx="3335164" cy="931951"/>
          </a:xfrm>
          <a:prstGeom prst="rect">
            <a:avLst/>
          </a:prstGeom>
          <a:noFill/>
        </p:spPr>
        <p:txBody>
          <a:bodyPr wrap="square" lIns="66462" tIns="33231" rIns="66462" bIns="33231" rtlCol="0">
            <a:noAutofit/>
          </a:bodyPr>
          <a:lstStyle/>
          <a:p>
            <a:pPr defTabSz="844083"/>
            <a:r>
              <a:rPr kumimoji="0" lang="ja-JP" altLang="en-US" sz="14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特定健診情報</a:t>
            </a:r>
            <a:endParaRPr kumimoji="0" lang="en-US" altLang="ja-JP" sz="14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844083"/>
            <a:r>
              <a:rPr kumimoji="0" lang="en-US" altLang="ja-JP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40</a:t>
            </a:r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歳から</a:t>
            </a:r>
            <a:r>
              <a:rPr kumimoji="0" lang="en-US" altLang="ja-JP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74</a:t>
            </a:r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歳までの方を対象に、</a:t>
            </a:r>
            <a:endParaRPr kumimoji="0" lang="en-US" altLang="ja-JP" sz="14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メタボリックシンドロームに着目して行われる</a:t>
            </a:r>
            <a:endParaRPr kumimoji="0" lang="en-US" altLang="ja-JP" sz="14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健診結果の情報です。</a:t>
            </a:r>
            <a:r>
              <a:rPr kumimoji="0" lang="en-US" altLang="ja-JP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１</a:t>
            </a:r>
          </a:p>
          <a:p>
            <a:pPr defTabSz="844083"/>
            <a:endParaRPr kumimoji="0" lang="en-US" altLang="ja-JP" sz="14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1D1F3405-DADA-4FE2-9524-050C2F000773}"/>
              </a:ext>
            </a:extLst>
          </p:cNvPr>
          <p:cNvSpPr txBox="1">
            <a:spLocks noChangeAspect="1"/>
          </p:cNvSpPr>
          <p:nvPr/>
        </p:nvSpPr>
        <p:spPr>
          <a:xfrm>
            <a:off x="4779289" y="2388370"/>
            <a:ext cx="3335164" cy="757236"/>
          </a:xfrm>
          <a:prstGeom prst="rect">
            <a:avLst/>
          </a:prstGeom>
          <a:noFill/>
        </p:spPr>
        <p:txBody>
          <a:bodyPr wrap="square" lIns="66462" tIns="33231" rIns="66462" bIns="33231" rtlCol="0">
            <a:noAutofit/>
          </a:bodyPr>
          <a:lstStyle/>
          <a:p>
            <a:pPr defTabSz="844083"/>
            <a:r>
              <a:rPr kumimoji="0" lang="ja-JP" altLang="en-US" sz="1400" b="1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診療</a:t>
            </a:r>
            <a:r>
              <a:rPr kumimoji="0" lang="en-US" altLang="ja-JP" sz="1400" b="1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/</a:t>
            </a:r>
            <a:r>
              <a:rPr kumimoji="0" lang="ja-JP" altLang="en-US" sz="1400" b="1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薬剤情報</a:t>
            </a:r>
          </a:p>
          <a:p>
            <a:pPr defTabSz="844083"/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医療機関を受診し、</a:t>
            </a:r>
            <a:endParaRPr kumimoji="0" lang="en-US" altLang="ja-JP" sz="14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薬局等で受け取ったお薬の情報です。</a:t>
            </a:r>
            <a:r>
              <a:rPr kumimoji="0" lang="en-US" altLang="ja-JP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２</a:t>
            </a:r>
            <a:endParaRPr kumimoji="0" lang="en-US" altLang="ja-JP" sz="14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90C062C5-7D32-4D92-B73E-ACD9B31581BF}"/>
              </a:ext>
            </a:extLst>
          </p:cNvPr>
          <p:cNvSpPr/>
          <p:nvPr/>
        </p:nvSpPr>
        <p:spPr>
          <a:xfrm>
            <a:off x="450651" y="5729556"/>
            <a:ext cx="43286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44083"/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１　</a:t>
            </a:r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75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歳以上の方については</a:t>
            </a:r>
            <a:endParaRPr kumimoji="0" lang="en-US" altLang="ja-JP" sz="1200" dirty="0">
              <a:solidFill>
                <a:srgbClr val="00965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algn="just" defTabSz="844083"/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　　　　後期高齢者健診情報を医師等が閲覧できるようになります。</a:t>
            </a:r>
            <a:endParaRPr kumimoji="0" lang="en-US" altLang="ja-JP" sz="1200" dirty="0">
              <a:solidFill>
                <a:srgbClr val="00965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FE8EDB94-1D57-2599-4417-DC411DC6F408}"/>
              </a:ext>
            </a:extLst>
          </p:cNvPr>
          <p:cNvSpPr/>
          <p:nvPr/>
        </p:nvSpPr>
        <p:spPr>
          <a:xfrm>
            <a:off x="5148064" y="5729556"/>
            <a:ext cx="324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44083"/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２　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</a:rPr>
              <a:t>注射・点滴等も含みます。</a:t>
            </a:r>
            <a:endParaRPr kumimoji="0" lang="en-US" altLang="ja-JP" sz="1200" dirty="0">
              <a:solidFill>
                <a:srgbClr val="00965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40679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図 44" descr="顔認証付きカードリーダーにマイナンバーカードを置いている画像">
            <a:extLst>
              <a:ext uri="{FF2B5EF4-FFF2-40B4-BE49-F238E27FC236}">
                <a16:creationId xmlns:a16="http://schemas.microsoft.com/office/drawing/2014/main" id="{9D3D77B1-21B5-4719-86B3-E5A99012AA8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83"/>
          <a:stretch/>
        </p:blipFill>
        <p:spPr>
          <a:xfrm>
            <a:off x="1668372" y="4134211"/>
            <a:ext cx="2179746" cy="145502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の利用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39552" y="1412776"/>
            <a:ext cx="5724644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kumimoji="1" lang="ja-JP" altLang="en-US" dirty="0"/>
              <a:t>顔認証付きカードリーダーを使い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1130098" y="1924545"/>
            <a:ext cx="37800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defTabSz="844083"/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イナンバーカードを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844083"/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顔認証付きカードリーダー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844083"/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から取り出し</a:t>
            </a:r>
            <a:r>
              <a:rPr kumimoji="0" lang="ja-JP" altLang="en-US" sz="2000" b="1" spc="-5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、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受付完了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6" name="図 45" descr="限度額情報を提供するかどうか選択する画面の画像">
            <a:extLst>
              <a:ext uri="{FF2B5EF4-FFF2-40B4-BE49-F238E27FC236}">
                <a16:creationId xmlns:a16="http://schemas.microsoft.com/office/drawing/2014/main" id="{D779A0F5-900F-4454-AE70-537C5418D92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644"/>
          <a:stretch/>
        </p:blipFill>
        <p:spPr>
          <a:xfrm>
            <a:off x="5719332" y="3892929"/>
            <a:ext cx="1660980" cy="207562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28B83DD0-DAA7-45BE-B23E-A3BBB6B1BC79}"/>
              </a:ext>
            </a:extLst>
          </p:cNvPr>
          <p:cNvSpPr/>
          <p:nvPr/>
        </p:nvSpPr>
        <p:spPr>
          <a:xfrm>
            <a:off x="5783380" y="4893921"/>
            <a:ext cx="1545360" cy="85936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6" name="図形グループ 2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188345" y="3717032"/>
            <a:ext cx="595035" cy="584775"/>
            <a:chOff x="7368792" y="2507809"/>
            <a:chExt cx="595035" cy="584775"/>
          </a:xfrm>
        </p:grpSpPr>
        <p:sp>
          <p:nvSpPr>
            <p:cNvPr id="27" name="円/楕円 2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18126" y="2583048"/>
              <a:ext cx="432319" cy="4323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368792" y="2507809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9" name="図形グループ 2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1259632" y="3695322"/>
            <a:ext cx="595035" cy="584775"/>
            <a:chOff x="7464985" y="2673548"/>
            <a:chExt cx="595035" cy="584775"/>
          </a:xfrm>
        </p:grpSpPr>
        <p:sp>
          <p:nvSpPr>
            <p:cNvPr id="30" name="円/楕円 2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464985" y="2673548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7568F677-87B8-3F05-F23A-DAC9DB27D312}"/>
              </a:ext>
            </a:extLst>
          </p:cNvPr>
          <p:cNvSpPr txBox="1"/>
          <p:nvPr/>
        </p:nvSpPr>
        <p:spPr>
          <a:xfrm>
            <a:off x="5006328" y="1990967"/>
            <a:ext cx="4572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❻</a:t>
            </a:r>
          </a:p>
          <a:p>
            <a:r>
              <a:rPr kumimoji="0" lang="en-US" altLang="ja-JP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0" lang="ja-JP" altLang="en-US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提供する情</a:t>
            </a:r>
            <a:r>
              <a:rPr kumimoji="0" lang="ja-JP" altLang="en-US" sz="1800" b="1" spc="-75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報</a:t>
            </a:r>
            <a:r>
              <a:rPr kumimoji="0" lang="ja-JP" altLang="en-US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限度額情報）</a:t>
            </a:r>
            <a:endParaRPr kumimoji="0" lang="en-US" altLang="ja-JP" sz="1800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0" lang="en-US" altLang="ja-JP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0" lang="ja-JP" altLang="en-US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を選択</a:t>
            </a:r>
            <a:endParaRPr kumimoji="0" lang="en-US" altLang="ja-JP" sz="1800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0" lang="en-US" altLang="ja-JP" sz="1400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 </a:t>
            </a: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（高額療養費制度を利用する方のみ）</a:t>
            </a:r>
          </a:p>
        </p:txBody>
      </p:sp>
    </p:spTree>
    <p:extLst>
      <p:ext uri="{BB962C8B-B14F-4D97-AF65-F5344CB8AC3E}">
        <p14:creationId xmlns:p14="http://schemas.microsoft.com/office/powerpoint/2010/main" val="1118542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9054" y="321413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4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公金受取口座の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登録をしましょう</a:t>
            </a:r>
          </a:p>
        </p:txBody>
      </p:sp>
      <p:pic>
        <p:nvPicPr>
          <p:cNvPr id="5" name="図 4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224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31820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5" name="直線コネクタ 4"/>
          <p:cNvCxnSpPr/>
          <p:nvPr/>
        </p:nvCxnSpPr>
        <p:spPr>
          <a:xfrm>
            <a:off x="1688890" y="1772816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5"/>
          <p:cNvCxnSpPr/>
          <p:nvPr/>
        </p:nvCxnSpPr>
        <p:spPr>
          <a:xfrm>
            <a:off x="1688890" y="323987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図 6" descr="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470" y="4062146"/>
            <a:ext cx="1282700" cy="1875862"/>
          </a:xfrm>
          <a:prstGeom prst="rect">
            <a:avLst/>
          </a:prstGeom>
        </p:spPr>
      </p:pic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619672" y="404664"/>
            <a:ext cx="7020900" cy="28346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ナポータルを知り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とは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…………………………………… P5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でできること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 P6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に関する確認サイト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 P7</a:t>
            </a:r>
          </a:p>
          <a:p>
            <a:pPr>
              <a:lnSpc>
                <a:spcPct val="110000"/>
              </a:lnSpc>
            </a:pP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ナポータル利用の準備をし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アプリのインストール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0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にログイン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1</a:t>
            </a:r>
          </a:p>
          <a:p>
            <a:pPr marL="182245" algn="dist">
              <a:lnSpc>
                <a:spcPct val="110000"/>
              </a:lnSpc>
            </a:pPr>
            <a:r>
              <a:rPr lang="en-US" altLang="ja-JP" b="1" dirty="0" err="1">
                <a:solidFill>
                  <a:srgbClr val="000000"/>
                </a:solidFill>
                <a:latin typeface="Meiryo"/>
                <a:ea typeface="Meiryo"/>
                <a:cs typeface="Meiryo" charset="-128"/>
              </a:rPr>
              <a:t>Ｃ.マイナポータルに関する確認サイト</a:t>
            </a:r>
            <a:r>
              <a:rPr lang="en-US" b="1" dirty="0">
                <a:solidFill>
                  <a:srgbClr val="000000"/>
                </a:solidFill>
                <a:latin typeface="Meiryo"/>
                <a:ea typeface="Meiryo"/>
                <a:cs typeface="Meiryo" charset="-128"/>
              </a:rPr>
              <a:t>……………………Ｐ14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309C368D-101D-4DFD-82BD-69A0E1A79DF5}"/>
              </a:ext>
            </a:extLst>
          </p:cNvPr>
          <p:cNvCxnSpPr>
            <a:cxnSpLocks/>
          </p:cNvCxnSpPr>
          <p:nvPr/>
        </p:nvCxnSpPr>
        <p:spPr>
          <a:xfrm>
            <a:off x="1695178" y="5085184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93935AA9-519D-F2BF-D596-C91B0011ACCE}"/>
              </a:ext>
            </a:extLst>
          </p:cNvPr>
          <p:cNvSpPr txBox="1"/>
          <p:nvPr/>
        </p:nvSpPr>
        <p:spPr>
          <a:xfrm>
            <a:off x="1619672" y="3246304"/>
            <a:ext cx="6988366" cy="320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３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健康保険証利用の登録をし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245">
              <a:lnSpc>
                <a:spcPct val="110000"/>
              </a:lnSpc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Ａ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ンバーカードを健康保険証として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    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使うと何がいいの？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16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Ｂ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健康保険証利用の申込のしかた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0</a:t>
            </a:r>
          </a:p>
          <a:p>
            <a:pPr marL="182245" algn="dist">
              <a:lnSpc>
                <a:spcPct val="110000"/>
              </a:lnSpc>
            </a:pPr>
            <a:r>
              <a:rPr lang="en-US" altLang="ja-JP" b="1" dirty="0">
                <a:solidFill>
                  <a:srgbClr val="000000"/>
                </a:solidFill>
                <a:latin typeface="Meiryo"/>
                <a:ea typeface="Meiryo"/>
                <a:cs typeface="Meiryo" charset="-128"/>
              </a:rPr>
              <a:t>Ｃ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マイナ保険証の利用のしかた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4</a:t>
            </a:r>
          </a:p>
          <a:p>
            <a:pPr marL="182245"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４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公金受取口座の登録をし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Ａ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公金受取口座の登録のしかた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30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公金受取口座登録制度の詳細や登録が可能な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    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金融機関の確認方法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39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オブジェクト 12" hidden="1">
            <a:extLst>
              <a:ext uri="{FF2B5EF4-FFF2-40B4-BE49-F238E27FC236}">
                <a16:creationId xmlns:a16="http://schemas.microsoft.com/office/drawing/2014/main" id="{4B344F3F-66F7-4403-B4CE-65B459AB16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3" name="オブジェクト 12" hidden="1">
                        <a:extLst>
                          <a:ext uri="{FF2B5EF4-FFF2-40B4-BE49-F238E27FC236}">
                            <a16:creationId xmlns:a16="http://schemas.microsoft.com/office/drawing/2014/main" id="{4B344F3F-66F7-4403-B4CE-65B459AB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29169"/>
            <a:ext cx="5519460" cy="695575"/>
          </a:xfrm>
        </p:spPr>
        <p:txBody>
          <a:bodyPr vert="horz" wrap="non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/>
              <a:t>公金受取口座の登録のしかた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472" y="1412776"/>
            <a:ext cx="8280000" cy="1506672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預貯金口座の情報をマイナンバーとともに事前に国に</a:t>
            </a:r>
            <a:endParaRPr lang="en-US" altLang="ja-JP" sz="2000" i="0" dirty="0">
              <a:solidFill>
                <a:srgbClr val="222222"/>
              </a:solidFill>
              <a:effectLst/>
              <a:latin typeface="Noto Sans JP"/>
            </a:endParaRPr>
          </a:p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登録しておくことにより、今後の緊急時の給付金等の申請において、</a:t>
            </a:r>
            <a:endParaRPr lang="en-US" altLang="ja-JP" sz="2000" i="0" dirty="0">
              <a:solidFill>
                <a:srgbClr val="222222"/>
              </a:solidFill>
              <a:effectLst/>
              <a:latin typeface="Noto Sans JP"/>
            </a:endParaRPr>
          </a:p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申請書への口座情報の記載や通帳の写し等の添付、</a:t>
            </a:r>
            <a:endParaRPr lang="en-US" altLang="ja-JP" sz="2000" i="0" dirty="0">
              <a:solidFill>
                <a:srgbClr val="222222"/>
              </a:solidFill>
              <a:effectLst/>
              <a:latin typeface="Noto Sans JP"/>
            </a:endParaRPr>
          </a:p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行政機関における口座情報の確認作業等が不要になり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pic>
        <p:nvPicPr>
          <p:cNvPr id="17" name="図 16" descr="「公金受取口座の登録」の流れを表したイラスト">
            <a:extLst>
              <a:ext uri="{FF2B5EF4-FFF2-40B4-BE49-F238E27FC236}">
                <a16:creationId xmlns:a16="http://schemas.microsoft.com/office/drawing/2014/main" id="{25B7A214-242F-41FF-A70B-3B063849F7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89454" y="2877655"/>
            <a:ext cx="5328592" cy="2783593"/>
          </a:xfrm>
          <a:prstGeom prst="rect">
            <a:avLst/>
          </a:prstGeom>
        </p:spPr>
      </p:pic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75F3908D-77FC-4DAF-8CBD-46D2187B6C21}"/>
              </a:ext>
            </a:extLst>
          </p:cNvPr>
          <p:cNvSpPr txBox="1"/>
          <p:nvPr/>
        </p:nvSpPr>
        <p:spPr>
          <a:xfrm>
            <a:off x="539552" y="5714092"/>
            <a:ext cx="81372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1600" indent="-201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公金受取口座を登録しても、国が預金残高を把握したり、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税金が勝手に引き落とされたりすることはありません。</a:t>
            </a:r>
          </a:p>
        </p:txBody>
      </p:sp>
    </p:spTree>
    <p:extLst>
      <p:ext uri="{BB962C8B-B14F-4D97-AF65-F5344CB8AC3E}">
        <p14:creationId xmlns:p14="http://schemas.microsoft.com/office/powerpoint/2010/main" val="429763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>
            <a:extLst>
              <a:ext uri="{FF2B5EF4-FFF2-40B4-BE49-F238E27FC236}">
                <a16:creationId xmlns:a16="http://schemas.microsoft.com/office/drawing/2014/main" id="{8A59229C-E93B-0526-66C5-7294D8E7E9E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18" b="32334"/>
          <a:stretch/>
        </p:blipFill>
        <p:spPr>
          <a:xfrm>
            <a:off x="2582828" y="2936612"/>
            <a:ext cx="1865472" cy="32286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6F5CBC84-679F-AEEA-01E7-6C160971754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77" b="81145"/>
          <a:stretch/>
        </p:blipFill>
        <p:spPr>
          <a:xfrm>
            <a:off x="467544" y="2924944"/>
            <a:ext cx="1870046" cy="239171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4" name="図 83" descr="マイナちゃんのイラスト">
            <a:extLst>
              <a:ext uri="{FF2B5EF4-FFF2-40B4-BE49-F238E27FC236}">
                <a16:creationId xmlns:a16="http://schemas.microsoft.com/office/drawing/2014/main" id="{3EAA37F7-814B-49ED-812A-55B0277FA52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14792" y="355728"/>
            <a:ext cx="576064" cy="842456"/>
          </a:xfrm>
          <a:prstGeom prst="rect">
            <a:avLst/>
          </a:prstGeom>
        </p:spPr>
      </p:pic>
      <p:graphicFrame>
        <p:nvGraphicFramePr>
          <p:cNvPr id="17" name="オブジェクト 16" hidden="1">
            <a:extLst>
              <a:ext uri="{FF2B5EF4-FFF2-40B4-BE49-F238E27FC236}">
                <a16:creationId xmlns:a16="http://schemas.microsoft.com/office/drawing/2014/main" id="{B7DDFABE-1AFB-4CB1-8BAB-549AB32DA0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17" name="オブジェクト 16" hidden="1">
                        <a:extLst>
                          <a:ext uri="{FF2B5EF4-FFF2-40B4-BE49-F238E27FC236}">
                            <a16:creationId xmlns:a16="http://schemas.microsoft.com/office/drawing/2014/main" id="{B7DDFABE-1AFB-4CB1-8BAB-549AB32DA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79" name="サブタイトル 2">
            <a:extLst>
              <a:ext uri="{FF2B5EF4-FFF2-40B4-BE49-F238E27FC236}">
                <a16:creationId xmlns:a16="http://schemas.microsoft.com/office/drawing/2014/main" id="{06B25CB2-686C-4EFE-A041-DF6DB7E5D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363415"/>
            <a:ext cx="6635150" cy="430887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200" dirty="0"/>
              <a:t>マイナポータ</a:t>
            </a:r>
            <a:r>
              <a:rPr lang="ja-JP" altLang="en-US" sz="2200" spc="-750" dirty="0"/>
              <a:t>ル</a:t>
            </a:r>
            <a:r>
              <a:rPr lang="ja-JP" altLang="en-US" sz="2200" dirty="0"/>
              <a:t>（アプリ</a:t>
            </a:r>
            <a:r>
              <a:rPr lang="ja-JP" altLang="en-US" sz="2200" spc="-750" dirty="0"/>
              <a:t>）</a:t>
            </a:r>
            <a:r>
              <a:rPr lang="ja-JP" altLang="en-US" sz="2200" dirty="0"/>
              <a:t>から</a:t>
            </a:r>
            <a:r>
              <a:rPr lang="ja-JP" altLang="en-US" sz="2200" spc="-500" dirty="0"/>
              <a:t>、</a:t>
            </a:r>
            <a:r>
              <a:rPr lang="ja-JP" altLang="en-US" sz="2200" dirty="0"/>
              <a:t>登録をはじめます</a:t>
            </a:r>
            <a:r>
              <a:rPr lang="ja-JP" altLang="en-US" sz="2200" spc="-500" dirty="0"/>
              <a:t>。</a:t>
            </a:r>
            <a:endParaRPr lang="en-US" altLang="ja-JP" sz="2200" dirty="0"/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B5B92DCB-6FA1-463D-978F-B01BDB705968}"/>
              </a:ext>
            </a:extLst>
          </p:cNvPr>
          <p:cNvSpPr/>
          <p:nvPr/>
        </p:nvSpPr>
        <p:spPr>
          <a:xfrm>
            <a:off x="736745" y="4371435"/>
            <a:ext cx="184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04664"/>
            <a:ext cx="5519460" cy="695575"/>
          </a:xfrm>
        </p:spPr>
        <p:txBody>
          <a:bodyPr vert="horz" wrap="non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/>
              <a:t>公金受取口座の登録のしかた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5D4F6AE4-9BEC-9142-CFD0-BCFB1851DE9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107" b="53770"/>
          <a:stretch/>
        </p:blipFill>
        <p:spPr>
          <a:xfrm>
            <a:off x="478333" y="4359208"/>
            <a:ext cx="1870046" cy="18060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フローチャート: せん孔テープ 10">
            <a:extLst>
              <a:ext uri="{FF2B5EF4-FFF2-40B4-BE49-F238E27FC236}">
                <a16:creationId xmlns:a16="http://schemas.microsoft.com/office/drawing/2014/main" id="{0C142079-A971-DC7E-3D63-E1764B0746E4}"/>
              </a:ext>
            </a:extLst>
          </p:cNvPr>
          <p:cNvSpPr/>
          <p:nvPr/>
        </p:nvSpPr>
        <p:spPr>
          <a:xfrm>
            <a:off x="472118" y="4144773"/>
            <a:ext cx="1865472" cy="804672"/>
          </a:xfrm>
          <a:prstGeom prst="flowChartPunchedTape">
            <a:avLst/>
          </a:prstGeom>
          <a:solidFill>
            <a:srgbClr val="FFFFCC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b="1" dirty="0">
                <a:solidFill>
                  <a:sysClr val="windowText" lastClr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中略</a:t>
            </a: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15FB8B9D-4937-986A-6D5C-F0EC93B5AED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5" b="16279"/>
          <a:stretch/>
        </p:blipFill>
        <p:spPr>
          <a:xfrm>
            <a:off x="4693538" y="2924944"/>
            <a:ext cx="1865472" cy="324036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B0C6440B-EEFA-2271-2995-F36D3D12FC0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248" y="2924944"/>
            <a:ext cx="1765973" cy="324036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41D7DD4-7050-B64C-A6E0-505E20AD5A5C}"/>
              </a:ext>
            </a:extLst>
          </p:cNvPr>
          <p:cNvSpPr txBox="1"/>
          <p:nvPr/>
        </p:nvSpPr>
        <p:spPr>
          <a:xfrm>
            <a:off x="2503995" y="1772816"/>
            <a:ext cx="19239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登録をはじめ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る」を押す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FC7C0982-F45C-000C-FC01-5B9FA07AD077}"/>
              </a:ext>
            </a:extLst>
          </p:cNvPr>
          <p:cNvSpPr txBox="1"/>
          <p:nvPr/>
        </p:nvSpPr>
        <p:spPr>
          <a:xfrm>
            <a:off x="4286708" y="1772816"/>
            <a:ext cx="25895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マイナンバーカード　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を読み取る」を押す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3680BCF6-32A8-E533-2946-0D250A15F047}"/>
              </a:ext>
            </a:extLst>
          </p:cNvPr>
          <p:cNvSpPr txBox="1"/>
          <p:nvPr/>
        </p:nvSpPr>
        <p:spPr>
          <a:xfrm>
            <a:off x="6732240" y="1772816"/>
            <a:ext cx="19606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パスワードを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入力する</a:t>
            </a:r>
            <a:endParaRPr kumimoji="1" lang="ja-JP" altLang="en-US" sz="1200" dirty="0"/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2E41FE68-F06F-6DDD-52C7-9060BAD9CD7D}"/>
              </a:ext>
            </a:extLst>
          </p:cNvPr>
          <p:cNvSpPr txBox="1"/>
          <p:nvPr/>
        </p:nvSpPr>
        <p:spPr>
          <a:xfrm>
            <a:off x="550800" y="1772816"/>
            <a:ext cx="20057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ログイン後、ホーム画面をスクロールし「公金受取口座」を押す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DDABB3E6-829D-4B7C-8E0D-A8E3A6842597}"/>
              </a:ext>
            </a:extLst>
          </p:cNvPr>
          <p:cNvSpPr txBox="1"/>
          <p:nvPr/>
        </p:nvSpPr>
        <p:spPr>
          <a:xfrm>
            <a:off x="288293" y="1772816"/>
            <a:ext cx="39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6A7DE33B-DD97-A6B6-FF73-2D8686AFB6AC}"/>
              </a:ext>
            </a:extLst>
          </p:cNvPr>
          <p:cNvSpPr/>
          <p:nvPr/>
        </p:nvSpPr>
        <p:spPr>
          <a:xfrm>
            <a:off x="459189" y="5190156"/>
            <a:ext cx="1878401" cy="36721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7" name="図形グループ 67">
            <a:extLst>
              <a:ext uri="{FF2B5EF4-FFF2-40B4-BE49-F238E27FC236}">
                <a16:creationId xmlns:a16="http://schemas.microsoft.com/office/drawing/2014/main" id="{2BE9A3D5-BEA4-ECF6-9B7A-C6DCFEC666AF}"/>
              </a:ext>
            </a:extLst>
          </p:cNvPr>
          <p:cNvGrpSpPr/>
          <p:nvPr/>
        </p:nvGrpSpPr>
        <p:grpSpPr>
          <a:xfrm>
            <a:off x="365799" y="3607985"/>
            <a:ext cx="296587" cy="293005"/>
            <a:chOff x="2897417" y="3995693"/>
            <a:chExt cx="296587" cy="293005"/>
          </a:xfrm>
        </p:grpSpPr>
        <p:sp>
          <p:nvSpPr>
            <p:cNvPr id="28" name="円/楕円 68">
              <a:extLst>
                <a:ext uri="{FF2B5EF4-FFF2-40B4-BE49-F238E27FC236}">
                  <a16:creationId xmlns:a16="http://schemas.microsoft.com/office/drawing/2014/main" id="{446F5F79-C5DC-AD9E-ADEA-7926E5399270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4788B625-F200-2D95-2E8D-21318A49256B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76CACA20-0B3A-EE68-DFD7-778B08D982A8}"/>
              </a:ext>
            </a:extLst>
          </p:cNvPr>
          <p:cNvSpPr/>
          <p:nvPr/>
        </p:nvSpPr>
        <p:spPr>
          <a:xfrm>
            <a:off x="2561689" y="4751118"/>
            <a:ext cx="1907750" cy="3808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7" name="図形グループ 64">
            <a:extLst>
              <a:ext uri="{FF2B5EF4-FFF2-40B4-BE49-F238E27FC236}">
                <a16:creationId xmlns:a16="http://schemas.microsoft.com/office/drawing/2014/main" id="{72BA2851-44B5-975F-434E-CC1CF122C8E1}"/>
              </a:ext>
            </a:extLst>
          </p:cNvPr>
          <p:cNvGrpSpPr/>
          <p:nvPr/>
        </p:nvGrpSpPr>
        <p:grpSpPr>
          <a:xfrm>
            <a:off x="2436934" y="4552477"/>
            <a:ext cx="296586" cy="293005"/>
            <a:chOff x="3546641" y="3995693"/>
            <a:chExt cx="296586" cy="293005"/>
          </a:xfrm>
        </p:grpSpPr>
        <p:sp>
          <p:nvSpPr>
            <p:cNvPr id="43" name="円/楕円 65">
              <a:extLst>
                <a:ext uri="{FF2B5EF4-FFF2-40B4-BE49-F238E27FC236}">
                  <a16:creationId xmlns:a16="http://schemas.microsoft.com/office/drawing/2014/main" id="{F8FED035-5439-A0ED-E9F4-69EC7AF3C031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6" name="フリーフォーム 66">
              <a:extLst>
                <a:ext uri="{FF2B5EF4-FFF2-40B4-BE49-F238E27FC236}">
                  <a16:creationId xmlns:a16="http://schemas.microsoft.com/office/drawing/2014/main" id="{C49D11C4-9AE8-E92C-B839-5B8A68149F27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50" name="図形グループ 61">
            <a:extLst>
              <a:ext uri="{FF2B5EF4-FFF2-40B4-BE49-F238E27FC236}">
                <a16:creationId xmlns:a16="http://schemas.microsoft.com/office/drawing/2014/main" id="{3FFCFC4C-B96C-8632-A603-9F7D30EAC25F}"/>
              </a:ext>
            </a:extLst>
          </p:cNvPr>
          <p:cNvGrpSpPr/>
          <p:nvPr/>
        </p:nvGrpSpPr>
        <p:grpSpPr>
          <a:xfrm>
            <a:off x="4576286" y="5166265"/>
            <a:ext cx="296586" cy="293005"/>
            <a:chOff x="4232441" y="3995693"/>
            <a:chExt cx="296586" cy="293005"/>
          </a:xfrm>
        </p:grpSpPr>
        <p:sp>
          <p:nvSpPr>
            <p:cNvPr id="51" name="円/楕円 62">
              <a:extLst>
                <a:ext uri="{FF2B5EF4-FFF2-40B4-BE49-F238E27FC236}">
                  <a16:creationId xmlns:a16="http://schemas.microsoft.com/office/drawing/2014/main" id="{6AAAF688-DD86-8DCE-F453-9E6E764F6B22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2" name="フリーフォーム 63">
              <a:extLst>
                <a:ext uri="{FF2B5EF4-FFF2-40B4-BE49-F238E27FC236}">
                  <a16:creationId xmlns:a16="http://schemas.microsoft.com/office/drawing/2014/main" id="{E8DB5790-0230-1283-D02D-40D32AA7978E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692FB605-C244-B41E-D00D-9E1F69D09F4D}"/>
              </a:ext>
            </a:extLst>
          </p:cNvPr>
          <p:cNvSpPr/>
          <p:nvPr/>
        </p:nvSpPr>
        <p:spPr>
          <a:xfrm>
            <a:off x="4676286" y="5477013"/>
            <a:ext cx="1914929" cy="3926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942DAE34-8B68-344A-8F22-C5D821EEBD77}"/>
              </a:ext>
            </a:extLst>
          </p:cNvPr>
          <p:cNvSpPr/>
          <p:nvPr/>
        </p:nvSpPr>
        <p:spPr>
          <a:xfrm>
            <a:off x="6804247" y="3789040"/>
            <a:ext cx="1765973" cy="3557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5" name="図形グループ 58">
            <a:extLst>
              <a:ext uri="{FF2B5EF4-FFF2-40B4-BE49-F238E27FC236}">
                <a16:creationId xmlns:a16="http://schemas.microsoft.com/office/drawing/2014/main" id="{E5F361CF-3C29-71FB-3E1F-C9E1366293E0}"/>
              </a:ext>
            </a:extLst>
          </p:cNvPr>
          <p:cNvGrpSpPr/>
          <p:nvPr/>
        </p:nvGrpSpPr>
        <p:grpSpPr>
          <a:xfrm>
            <a:off x="6667285" y="3459480"/>
            <a:ext cx="296586" cy="293005"/>
            <a:chOff x="5101121" y="3995693"/>
            <a:chExt cx="296586" cy="293005"/>
          </a:xfrm>
        </p:grpSpPr>
        <p:sp>
          <p:nvSpPr>
            <p:cNvPr id="56" name="円/楕円 59">
              <a:extLst>
                <a:ext uri="{FF2B5EF4-FFF2-40B4-BE49-F238E27FC236}">
                  <a16:creationId xmlns:a16="http://schemas.microsoft.com/office/drawing/2014/main" id="{EB63DDE9-AA13-FA83-11C9-EA0F50532BB4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60">
              <a:extLst>
                <a:ext uri="{FF2B5EF4-FFF2-40B4-BE49-F238E27FC236}">
                  <a16:creationId xmlns:a16="http://schemas.microsoft.com/office/drawing/2014/main" id="{E40772C2-52E9-A81D-A8A3-7D7D9BE295CA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888685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図 20">
            <a:extLst>
              <a:ext uri="{FF2B5EF4-FFF2-40B4-BE49-F238E27FC236}">
                <a16:creationId xmlns:a16="http://schemas.microsoft.com/office/drawing/2014/main" id="{70194C72-C6B7-DEBF-F869-D17C44114FE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91" b="14167"/>
          <a:stretch/>
        </p:blipFill>
        <p:spPr>
          <a:xfrm>
            <a:off x="6180357" y="2925192"/>
            <a:ext cx="1848027" cy="328855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6" name="図 35">
            <a:extLst>
              <a:ext uri="{FF2B5EF4-FFF2-40B4-BE49-F238E27FC236}">
                <a16:creationId xmlns:a16="http://schemas.microsoft.com/office/drawing/2014/main" id="{800F6EF9-5BBC-1113-BF41-7C37618EA31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6099" y="2936612"/>
            <a:ext cx="1869032" cy="31578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図 21">
            <a:extLst>
              <a:ext uri="{FF2B5EF4-FFF2-40B4-BE49-F238E27FC236}">
                <a16:creationId xmlns:a16="http://schemas.microsoft.com/office/drawing/2014/main" id="{68A8DC36-8E83-479D-0DC6-98B799320EB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616" y="2916767"/>
            <a:ext cx="1871958" cy="317764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255AE547-ABF1-49AA-BED2-07E98567B9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255AE547-ABF1-49AA-BED2-07E98567B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24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04664"/>
            <a:ext cx="5519460" cy="695575"/>
          </a:xfrm>
        </p:spPr>
        <p:txBody>
          <a:bodyPr vert="horz" wrap="non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/>
              <a:t>公金受取口座の登録のしかた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017B3D7-9D9E-89DF-8A08-55A6C15CB325}"/>
              </a:ext>
            </a:extLst>
          </p:cNvPr>
          <p:cNvSpPr/>
          <p:nvPr/>
        </p:nvSpPr>
        <p:spPr>
          <a:xfrm>
            <a:off x="736745" y="4371435"/>
            <a:ext cx="184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8621DEB8-8347-5872-A3D1-43DAC6D9F49C}"/>
              </a:ext>
            </a:extLst>
          </p:cNvPr>
          <p:cNvSpPr txBox="1"/>
          <p:nvPr/>
        </p:nvSpPr>
        <p:spPr>
          <a:xfrm>
            <a:off x="3271902" y="1772816"/>
            <a:ext cx="259624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マイナンバーカードを　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スマートフォン裏面に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密着させる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6CAA839-C109-1CC6-4E1B-706806761801}"/>
              </a:ext>
            </a:extLst>
          </p:cNvPr>
          <p:cNvSpPr txBox="1"/>
          <p:nvPr/>
        </p:nvSpPr>
        <p:spPr>
          <a:xfrm>
            <a:off x="5972107" y="1772816"/>
            <a:ext cx="22723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本人情報を確認し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「次へ」を押す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1326B08B-B038-4C39-400B-345752CDB176}"/>
              </a:ext>
            </a:extLst>
          </p:cNvPr>
          <p:cNvSpPr txBox="1"/>
          <p:nvPr/>
        </p:nvSpPr>
        <p:spPr>
          <a:xfrm>
            <a:off x="1015592" y="1772816"/>
            <a:ext cx="21882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読み取り開始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を押す</a:t>
            </a:r>
          </a:p>
        </p:txBody>
      </p:sp>
      <p:sp>
        <p:nvSpPr>
          <p:cNvPr id="39" name="字幕 14">
            <a:extLst>
              <a:ext uri="{FF2B5EF4-FFF2-40B4-BE49-F238E27FC236}">
                <a16:creationId xmlns:a16="http://schemas.microsoft.com/office/drawing/2014/main" id="{69B9A904-30F3-470B-5303-8AE3A33A676A}"/>
              </a:ext>
            </a:extLst>
          </p:cNvPr>
          <p:cNvSpPr txBox="1">
            <a:spLocks/>
          </p:cNvSpPr>
          <p:nvPr/>
        </p:nvSpPr>
        <p:spPr>
          <a:xfrm>
            <a:off x="507804" y="1483847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800"/>
              <a:t>正しくマイナンバーカードを読み取りましょう。</a:t>
            </a:r>
            <a:endParaRPr lang="ja-JP" altLang="en-US" dirty="0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D26C3B9-CE77-6630-9EBF-27B5B2C8B5EF}"/>
              </a:ext>
            </a:extLst>
          </p:cNvPr>
          <p:cNvSpPr/>
          <p:nvPr/>
        </p:nvSpPr>
        <p:spPr>
          <a:xfrm>
            <a:off x="1115616" y="5707175"/>
            <a:ext cx="1878401" cy="36721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AAB10241-38E2-05B2-5C31-E45B4077689F}"/>
              </a:ext>
            </a:extLst>
          </p:cNvPr>
          <p:cNvSpPr/>
          <p:nvPr/>
        </p:nvSpPr>
        <p:spPr>
          <a:xfrm>
            <a:off x="6149983" y="5846526"/>
            <a:ext cx="1878401" cy="36721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" name="図形グループ 67">
            <a:extLst>
              <a:ext uri="{FF2B5EF4-FFF2-40B4-BE49-F238E27FC236}">
                <a16:creationId xmlns:a16="http://schemas.microsoft.com/office/drawing/2014/main" id="{E04FF9A6-049E-9727-1D79-BE506D572028}"/>
              </a:ext>
            </a:extLst>
          </p:cNvPr>
          <p:cNvGrpSpPr/>
          <p:nvPr/>
        </p:nvGrpSpPr>
        <p:grpSpPr>
          <a:xfrm>
            <a:off x="951455" y="5361384"/>
            <a:ext cx="296587" cy="293005"/>
            <a:chOff x="2897417" y="3995693"/>
            <a:chExt cx="296587" cy="293005"/>
          </a:xfrm>
        </p:grpSpPr>
        <p:sp>
          <p:nvSpPr>
            <p:cNvPr id="8" name="円/楕円 68">
              <a:extLst>
                <a:ext uri="{FF2B5EF4-FFF2-40B4-BE49-F238E27FC236}">
                  <a16:creationId xmlns:a16="http://schemas.microsoft.com/office/drawing/2014/main" id="{C2A0CA7A-F086-7114-9E59-E4A5E5F791E1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351E06A1-F792-3750-5DF3-62A06A645559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0" name="図形グループ 61">
            <a:extLst>
              <a:ext uri="{FF2B5EF4-FFF2-40B4-BE49-F238E27FC236}">
                <a16:creationId xmlns:a16="http://schemas.microsoft.com/office/drawing/2014/main" id="{86D45A4B-1F39-D16E-8C33-7201271475DD}"/>
              </a:ext>
            </a:extLst>
          </p:cNvPr>
          <p:cNvGrpSpPr/>
          <p:nvPr/>
        </p:nvGrpSpPr>
        <p:grpSpPr>
          <a:xfrm>
            <a:off x="5972107" y="5525770"/>
            <a:ext cx="296586" cy="293005"/>
            <a:chOff x="4232441" y="3995693"/>
            <a:chExt cx="296586" cy="293005"/>
          </a:xfrm>
        </p:grpSpPr>
        <p:sp>
          <p:nvSpPr>
            <p:cNvPr id="13" name="円/楕円 62">
              <a:extLst>
                <a:ext uri="{FF2B5EF4-FFF2-40B4-BE49-F238E27FC236}">
                  <a16:creationId xmlns:a16="http://schemas.microsoft.com/office/drawing/2014/main" id="{ABF7AC93-2AE9-22A4-9E7A-555F21981597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4" name="フリーフォーム 63">
              <a:extLst>
                <a:ext uri="{FF2B5EF4-FFF2-40B4-BE49-F238E27FC236}">
                  <a16:creationId xmlns:a16="http://schemas.microsoft.com/office/drawing/2014/main" id="{BC8F6388-5FB9-6458-FC10-6E2A4DB7FCB6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64CCA52A-A5CF-3FB3-0301-99C70E3C0BFF}"/>
              </a:ext>
            </a:extLst>
          </p:cNvPr>
          <p:cNvSpPr/>
          <p:nvPr/>
        </p:nvSpPr>
        <p:spPr>
          <a:xfrm>
            <a:off x="3630822" y="4148293"/>
            <a:ext cx="1878401" cy="192609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0" name="図形グループ 64">
            <a:extLst>
              <a:ext uri="{FF2B5EF4-FFF2-40B4-BE49-F238E27FC236}">
                <a16:creationId xmlns:a16="http://schemas.microsoft.com/office/drawing/2014/main" id="{BA09DEDE-4E39-FC04-9879-F7D03A849299}"/>
              </a:ext>
            </a:extLst>
          </p:cNvPr>
          <p:cNvGrpSpPr/>
          <p:nvPr/>
        </p:nvGrpSpPr>
        <p:grpSpPr>
          <a:xfrm>
            <a:off x="3387476" y="3835268"/>
            <a:ext cx="296586" cy="293005"/>
            <a:chOff x="3546641" y="3995693"/>
            <a:chExt cx="296586" cy="293005"/>
          </a:xfrm>
        </p:grpSpPr>
        <p:sp>
          <p:nvSpPr>
            <p:cNvPr id="23" name="円/楕円 65">
              <a:extLst>
                <a:ext uri="{FF2B5EF4-FFF2-40B4-BE49-F238E27FC236}">
                  <a16:creationId xmlns:a16="http://schemas.microsoft.com/office/drawing/2014/main" id="{38CA94A1-ED6B-350A-5EBE-6918A9A0F5BF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5" name="フリーフォーム 66">
              <a:extLst>
                <a:ext uri="{FF2B5EF4-FFF2-40B4-BE49-F238E27FC236}">
                  <a16:creationId xmlns:a16="http://schemas.microsoft.com/office/drawing/2014/main" id="{0D0C082D-18C6-7211-CA8E-3794333AB0A7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489118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>
            <a:extLst>
              <a:ext uri="{FF2B5EF4-FFF2-40B4-BE49-F238E27FC236}">
                <a16:creationId xmlns:a16="http://schemas.microsoft.com/office/drawing/2014/main" id="{704BE46D-CAFB-8ED7-6D68-4B7BFAAE670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738" b="15818"/>
          <a:stretch/>
        </p:blipFill>
        <p:spPr>
          <a:xfrm>
            <a:off x="2582829" y="2936612"/>
            <a:ext cx="1867414" cy="292876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159DFBBE-FA24-29C6-D28F-43C258CC56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0" t="2519" r="-450" b="43715"/>
          <a:stretch/>
        </p:blipFill>
        <p:spPr bwMode="auto">
          <a:xfrm>
            <a:off x="467544" y="2936611"/>
            <a:ext cx="1765973" cy="328879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図 19">
            <a:extLst>
              <a:ext uri="{FF2B5EF4-FFF2-40B4-BE49-F238E27FC236}">
                <a16:creationId xmlns:a16="http://schemas.microsoft.com/office/drawing/2014/main" id="{301F02E7-263E-208A-87E0-924E67A95A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0" t="2519" r="-450" b="43715"/>
          <a:stretch/>
        </p:blipFill>
        <p:spPr bwMode="auto">
          <a:xfrm>
            <a:off x="6812186" y="2876504"/>
            <a:ext cx="1765973" cy="32888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0944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5048AF9F-0178-41AA-9455-22E2D46032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384676" cy="306889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口座情報の登録に進みます。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324EB76-2563-3884-9AE6-5924726B2F20}"/>
              </a:ext>
            </a:extLst>
          </p:cNvPr>
          <p:cNvSpPr txBox="1"/>
          <p:nvPr/>
        </p:nvSpPr>
        <p:spPr>
          <a:xfrm>
            <a:off x="6588224" y="1772816"/>
            <a:ext cx="22044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口座種別を選択し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口座番号と名義を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入力する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97152EDA-9099-1B55-1AD2-4A06CD90053B}"/>
              </a:ext>
            </a:extLst>
          </p:cNvPr>
          <p:cNvSpPr/>
          <p:nvPr/>
        </p:nvSpPr>
        <p:spPr>
          <a:xfrm>
            <a:off x="736745" y="4371435"/>
            <a:ext cx="184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4" name="図 13">
            <a:extLst>
              <a:ext uri="{FF2B5EF4-FFF2-40B4-BE49-F238E27FC236}">
                <a16:creationId xmlns:a16="http://schemas.microsoft.com/office/drawing/2014/main" id="{0CB6DDF7-1D48-F58E-21B1-38FCA3A02A6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5" b="16279"/>
          <a:stretch/>
        </p:blipFill>
        <p:spPr>
          <a:xfrm>
            <a:off x="4693538" y="2924944"/>
            <a:ext cx="1865472" cy="324036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A7719F7-05AC-233F-2300-D4BCD04F5608}"/>
              </a:ext>
            </a:extLst>
          </p:cNvPr>
          <p:cNvSpPr txBox="1"/>
          <p:nvPr/>
        </p:nvSpPr>
        <p:spPr>
          <a:xfrm>
            <a:off x="2503995" y="1772816"/>
            <a:ext cx="19239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該当する金融機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関名を入力する　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か選択する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5986669B-5F07-5238-AEE1-46401B8B2647}"/>
              </a:ext>
            </a:extLst>
          </p:cNvPr>
          <p:cNvSpPr txBox="1"/>
          <p:nvPr/>
        </p:nvSpPr>
        <p:spPr>
          <a:xfrm>
            <a:off x="4286708" y="1772816"/>
            <a:ext cx="23015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該当する支店を入力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するか選択する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3B198612-34F0-06BB-0306-86CB2B52542F}"/>
              </a:ext>
            </a:extLst>
          </p:cNvPr>
          <p:cNvSpPr txBox="1"/>
          <p:nvPr/>
        </p:nvSpPr>
        <p:spPr>
          <a:xfrm>
            <a:off x="395535" y="1772816"/>
            <a:ext cx="21872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金融機関名の検索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ボックスを押す</a:t>
            </a:r>
          </a:p>
          <a:p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87161E57-5CB1-C3F4-DE54-5C3548D83E7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653" b="7784"/>
          <a:stretch/>
        </p:blipFill>
        <p:spPr>
          <a:xfrm>
            <a:off x="4700143" y="2924944"/>
            <a:ext cx="1874510" cy="324036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9E05613E-429D-48B3-E320-4D7F4377E227}"/>
              </a:ext>
            </a:extLst>
          </p:cNvPr>
          <p:cNvSpPr/>
          <p:nvPr/>
        </p:nvSpPr>
        <p:spPr>
          <a:xfrm>
            <a:off x="467544" y="3749646"/>
            <a:ext cx="1765974" cy="47384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0" name="図形グループ 67">
            <a:extLst>
              <a:ext uri="{FF2B5EF4-FFF2-40B4-BE49-F238E27FC236}">
                <a16:creationId xmlns:a16="http://schemas.microsoft.com/office/drawing/2014/main" id="{4AD61C34-E5EB-6C0F-1162-EC45B8526BEB}"/>
              </a:ext>
            </a:extLst>
          </p:cNvPr>
          <p:cNvGrpSpPr/>
          <p:nvPr/>
        </p:nvGrpSpPr>
        <p:grpSpPr>
          <a:xfrm>
            <a:off x="190015" y="3315682"/>
            <a:ext cx="296587" cy="293005"/>
            <a:chOff x="2897417" y="3995693"/>
            <a:chExt cx="296587" cy="293005"/>
          </a:xfrm>
        </p:grpSpPr>
        <p:sp>
          <p:nvSpPr>
            <p:cNvPr id="36" name="円/楕円 68">
              <a:extLst>
                <a:ext uri="{FF2B5EF4-FFF2-40B4-BE49-F238E27FC236}">
                  <a16:creationId xmlns:a16="http://schemas.microsoft.com/office/drawing/2014/main" id="{4AB89ED8-9BF0-A87F-ED16-43938ABC1EED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テキスト ボックス 37">
              <a:extLst>
                <a:ext uri="{FF2B5EF4-FFF2-40B4-BE49-F238E27FC236}">
                  <a16:creationId xmlns:a16="http://schemas.microsoft.com/office/drawing/2014/main" id="{8088DFA1-31FC-E367-733B-5903DFF67595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12326A36-C72D-045D-FCF0-18A9FA583E8A}"/>
              </a:ext>
            </a:extLst>
          </p:cNvPr>
          <p:cNvSpPr/>
          <p:nvPr/>
        </p:nvSpPr>
        <p:spPr>
          <a:xfrm>
            <a:off x="2554860" y="3712894"/>
            <a:ext cx="1907750" cy="156240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4" name="図形グループ 64">
            <a:extLst>
              <a:ext uri="{FF2B5EF4-FFF2-40B4-BE49-F238E27FC236}">
                <a16:creationId xmlns:a16="http://schemas.microsoft.com/office/drawing/2014/main" id="{35BE8BAC-0254-69B3-ECE4-D016D00A8D6C}"/>
              </a:ext>
            </a:extLst>
          </p:cNvPr>
          <p:cNvGrpSpPr/>
          <p:nvPr/>
        </p:nvGrpSpPr>
        <p:grpSpPr>
          <a:xfrm>
            <a:off x="2318325" y="3336050"/>
            <a:ext cx="296586" cy="293005"/>
            <a:chOff x="3546641" y="3995693"/>
            <a:chExt cx="296586" cy="293005"/>
          </a:xfrm>
        </p:grpSpPr>
        <p:sp>
          <p:nvSpPr>
            <p:cNvPr id="45" name="円/楕円 65">
              <a:extLst>
                <a:ext uri="{FF2B5EF4-FFF2-40B4-BE49-F238E27FC236}">
                  <a16:creationId xmlns:a16="http://schemas.microsoft.com/office/drawing/2014/main" id="{5B65FD99-34F0-84F0-A2EA-CFBE2BFD7B17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6" name="フリーフォーム 66">
              <a:extLst>
                <a:ext uri="{FF2B5EF4-FFF2-40B4-BE49-F238E27FC236}">
                  <a16:creationId xmlns:a16="http://schemas.microsoft.com/office/drawing/2014/main" id="{2ABA6B64-F0BD-A1ED-955A-214C6C05B4E3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FB96C252-6B40-AC24-5C66-DD1CD0BEADDA}"/>
              </a:ext>
            </a:extLst>
          </p:cNvPr>
          <p:cNvSpPr/>
          <p:nvPr/>
        </p:nvSpPr>
        <p:spPr>
          <a:xfrm>
            <a:off x="4682704" y="3482552"/>
            <a:ext cx="1874511" cy="146942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31C830F2-EA15-B5D5-6FA1-6D65617A0962}"/>
              </a:ext>
            </a:extLst>
          </p:cNvPr>
          <p:cNvSpPr/>
          <p:nvPr/>
        </p:nvSpPr>
        <p:spPr>
          <a:xfrm>
            <a:off x="6800510" y="4131078"/>
            <a:ext cx="1765973" cy="181820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2" name="図形グループ 58">
            <a:extLst>
              <a:ext uri="{FF2B5EF4-FFF2-40B4-BE49-F238E27FC236}">
                <a16:creationId xmlns:a16="http://schemas.microsoft.com/office/drawing/2014/main" id="{B704F9C1-396D-066C-28A0-4AEA04033685}"/>
              </a:ext>
            </a:extLst>
          </p:cNvPr>
          <p:cNvGrpSpPr/>
          <p:nvPr/>
        </p:nvGrpSpPr>
        <p:grpSpPr>
          <a:xfrm>
            <a:off x="6619619" y="3190249"/>
            <a:ext cx="296586" cy="293005"/>
            <a:chOff x="5101121" y="3995693"/>
            <a:chExt cx="296586" cy="293005"/>
          </a:xfrm>
        </p:grpSpPr>
        <p:sp>
          <p:nvSpPr>
            <p:cNvPr id="53" name="円/楕円 59">
              <a:extLst>
                <a:ext uri="{FF2B5EF4-FFF2-40B4-BE49-F238E27FC236}">
                  <a16:creationId xmlns:a16="http://schemas.microsoft.com/office/drawing/2014/main" id="{2C30AE69-AC5A-BC7E-0E24-8DEA31E90072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60">
              <a:extLst>
                <a:ext uri="{FF2B5EF4-FFF2-40B4-BE49-F238E27FC236}">
                  <a16:creationId xmlns:a16="http://schemas.microsoft.com/office/drawing/2014/main" id="{748CDA22-A533-5474-C08B-4ACD4E8D92EE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7" name="図形グループ 61">
            <a:extLst>
              <a:ext uri="{FF2B5EF4-FFF2-40B4-BE49-F238E27FC236}">
                <a16:creationId xmlns:a16="http://schemas.microsoft.com/office/drawing/2014/main" id="{5D53C4D0-D8CE-54E8-17D5-15F033DE5C13}"/>
              </a:ext>
            </a:extLst>
          </p:cNvPr>
          <p:cNvGrpSpPr/>
          <p:nvPr/>
        </p:nvGrpSpPr>
        <p:grpSpPr>
          <a:xfrm>
            <a:off x="4539483" y="3189547"/>
            <a:ext cx="296586" cy="293005"/>
            <a:chOff x="4232441" y="3995693"/>
            <a:chExt cx="296586" cy="293005"/>
          </a:xfrm>
        </p:grpSpPr>
        <p:sp>
          <p:nvSpPr>
            <p:cNvPr id="48" name="円/楕円 62">
              <a:extLst>
                <a:ext uri="{FF2B5EF4-FFF2-40B4-BE49-F238E27FC236}">
                  <a16:creationId xmlns:a16="http://schemas.microsoft.com/office/drawing/2014/main" id="{8BF717E8-57E6-EA3B-36CC-1FBBE6A07BA7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9" name="フリーフォーム 63">
              <a:extLst>
                <a:ext uri="{FF2B5EF4-FFF2-40B4-BE49-F238E27FC236}">
                  <a16:creationId xmlns:a16="http://schemas.microsoft.com/office/drawing/2014/main" id="{11E81638-094F-B463-CE71-4DA33C99E733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982230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91542-2BA2-9837-6BF7-B4ADFFCB8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919C734E-A3DB-5CB9-F8AF-8E426F0D5B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115" b="8653"/>
          <a:stretch/>
        </p:blipFill>
        <p:spPr bwMode="auto">
          <a:xfrm>
            <a:off x="6497180" y="2924708"/>
            <a:ext cx="1859107" cy="330070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871C3F67-E1AC-657D-23D8-E48888CCFF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0" t="35893" r="-1260" b="10147"/>
          <a:stretch/>
        </p:blipFill>
        <p:spPr bwMode="auto">
          <a:xfrm>
            <a:off x="3698386" y="2936610"/>
            <a:ext cx="1765973" cy="330070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66591AF0-D2B8-F959-DE84-823FEBF483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0" t="2519" r="-450" b="43715"/>
          <a:stretch/>
        </p:blipFill>
        <p:spPr bwMode="auto">
          <a:xfrm>
            <a:off x="899592" y="2936611"/>
            <a:ext cx="1765973" cy="328879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A55BD1A8-E135-70AF-FF8B-6976EA8CB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A55BD1A8-E135-70AF-FF8B-6976EA8CB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8256FB2C-39B7-5AA4-42A9-12E0DB7C17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350944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C52E53A-3405-088C-0B53-D2395A01512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24378D89-7E65-C57A-FBB6-3D121F64E7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384676" cy="306889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口座情報の登録に進みます。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B96E258-8A3F-159E-E8AA-230F808E41C6}"/>
              </a:ext>
            </a:extLst>
          </p:cNvPr>
          <p:cNvSpPr txBox="1"/>
          <p:nvPr/>
        </p:nvSpPr>
        <p:spPr>
          <a:xfrm>
            <a:off x="6300192" y="1772816"/>
            <a:ext cx="22044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➐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口座名義を確認し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「本人であることを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確認しました」を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押す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56277B43-7A75-3988-5229-00556A5B16E6}"/>
              </a:ext>
            </a:extLst>
          </p:cNvPr>
          <p:cNvSpPr/>
          <p:nvPr/>
        </p:nvSpPr>
        <p:spPr>
          <a:xfrm>
            <a:off x="736745" y="4371435"/>
            <a:ext cx="184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618AC8A5-3844-A0A3-6492-10FCEB21626B}"/>
              </a:ext>
            </a:extLst>
          </p:cNvPr>
          <p:cNvSpPr txBox="1"/>
          <p:nvPr/>
        </p:nvSpPr>
        <p:spPr>
          <a:xfrm>
            <a:off x="3623532" y="1772816"/>
            <a:ext cx="1923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「次へ」を押す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BF2C7855-B1DA-6574-63EA-8C7967391520}"/>
              </a:ext>
            </a:extLst>
          </p:cNvPr>
          <p:cNvSpPr txBox="1"/>
          <p:nvPr/>
        </p:nvSpPr>
        <p:spPr>
          <a:xfrm>
            <a:off x="728523" y="1772816"/>
            <a:ext cx="218729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画面を上に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スクロールする</a:t>
            </a:r>
          </a:p>
        </p:txBody>
      </p:sp>
      <p:sp>
        <p:nvSpPr>
          <p:cNvPr id="8" name="上矢印 68">
            <a:extLst>
              <a:ext uri="{FF2B5EF4-FFF2-40B4-BE49-F238E27FC236}">
                <a16:creationId xmlns:a16="http://schemas.microsoft.com/office/drawing/2014/main" id="{EC62DE8D-AF3E-9D77-2F04-E147BE3726B5}"/>
              </a:ext>
            </a:extLst>
          </p:cNvPr>
          <p:cNvSpPr>
            <a:spLocks noChangeAspect="1"/>
          </p:cNvSpPr>
          <p:nvPr/>
        </p:nvSpPr>
        <p:spPr>
          <a:xfrm>
            <a:off x="1120333" y="3988733"/>
            <a:ext cx="631902" cy="1811843"/>
          </a:xfrm>
          <a:prstGeom prst="upArrow">
            <a:avLst/>
          </a:prstGeom>
          <a:solidFill>
            <a:srgbClr val="FF000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rgbClr val="FF0000"/>
              </a:solidFill>
            </a:endParaRPr>
          </a:p>
        </p:txBody>
      </p:sp>
      <p:grpSp>
        <p:nvGrpSpPr>
          <p:cNvPr id="11" name="図形グループ 25">
            <a:extLst>
              <a:ext uri="{FF2B5EF4-FFF2-40B4-BE49-F238E27FC236}">
                <a16:creationId xmlns:a16="http://schemas.microsoft.com/office/drawing/2014/main" id="{D97D5D28-7911-40DF-AB0E-D41D6F7DDA83}"/>
              </a:ext>
            </a:extLst>
          </p:cNvPr>
          <p:cNvGrpSpPr/>
          <p:nvPr/>
        </p:nvGrpSpPr>
        <p:grpSpPr>
          <a:xfrm>
            <a:off x="4211960" y="5436513"/>
            <a:ext cx="595035" cy="584775"/>
            <a:chOff x="7336484" y="2505757"/>
            <a:chExt cx="595035" cy="584775"/>
          </a:xfrm>
        </p:grpSpPr>
        <p:sp>
          <p:nvSpPr>
            <p:cNvPr id="12" name="円/楕円 26">
              <a:extLst>
                <a:ext uri="{FF2B5EF4-FFF2-40B4-BE49-F238E27FC236}">
                  <a16:creationId xmlns:a16="http://schemas.microsoft.com/office/drawing/2014/main" id="{131DD188-BC39-FE4E-8C18-5F81E642C6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18126" y="2583048"/>
              <a:ext cx="432319" cy="4323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2D7FC426-E60B-A9CA-AB15-C8BFDAAD76C0}"/>
                </a:ext>
              </a:extLst>
            </p:cNvPr>
            <p:cNvSpPr/>
            <p:nvPr/>
          </p:nvSpPr>
          <p:spPr>
            <a:xfrm>
              <a:off x="7336484" y="2505757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1" name="図形グループ 28">
            <a:extLst>
              <a:ext uri="{FF2B5EF4-FFF2-40B4-BE49-F238E27FC236}">
                <a16:creationId xmlns:a16="http://schemas.microsoft.com/office/drawing/2014/main" id="{5E07CCF6-1D91-8FA1-88B0-B58250EB65C0}"/>
              </a:ext>
            </a:extLst>
          </p:cNvPr>
          <p:cNvGrpSpPr/>
          <p:nvPr/>
        </p:nvGrpSpPr>
        <p:grpSpPr>
          <a:xfrm>
            <a:off x="963998" y="3601985"/>
            <a:ext cx="595035" cy="584775"/>
            <a:chOff x="7464985" y="2673548"/>
            <a:chExt cx="595035" cy="584775"/>
          </a:xfrm>
        </p:grpSpPr>
        <p:sp>
          <p:nvSpPr>
            <p:cNvPr id="22" name="円/楕円 29">
              <a:extLst>
                <a:ext uri="{FF2B5EF4-FFF2-40B4-BE49-F238E27FC236}">
                  <a16:creationId xmlns:a16="http://schemas.microsoft.com/office/drawing/2014/main" id="{BA350FC3-46AD-04A7-2A54-811C222479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2582E43C-E5B2-EA0F-DAEC-4C45FAD3C0B6}"/>
                </a:ext>
              </a:extLst>
            </p:cNvPr>
            <p:cNvSpPr/>
            <p:nvPr/>
          </p:nvSpPr>
          <p:spPr>
            <a:xfrm>
              <a:off x="7464985" y="2673548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61FD0D2-3AA7-1598-1E1B-7A2E9C5F7A57}"/>
              </a:ext>
            </a:extLst>
          </p:cNvPr>
          <p:cNvSpPr/>
          <p:nvPr/>
        </p:nvSpPr>
        <p:spPr>
          <a:xfrm>
            <a:off x="6444208" y="4572417"/>
            <a:ext cx="6247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➐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F29A0110-67A7-D08C-34A4-C8E20F2FA516}"/>
              </a:ext>
            </a:extLst>
          </p:cNvPr>
          <p:cNvSpPr/>
          <p:nvPr/>
        </p:nvSpPr>
        <p:spPr>
          <a:xfrm>
            <a:off x="4542365" y="5949280"/>
            <a:ext cx="866836" cy="27613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D184F8CB-08FE-179C-844A-F7BB1A5965E9}"/>
              </a:ext>
            </a:extLst>
          </p:cNvPr>
          <p:cNvSpPr/>
          <p:nvPr/>
        </p:nvSpPr>
        <p:spPr>
          <a:xfrm>
            <a:off x="6630264" y="5013175"/>
            <a:ext cx="1595488" cy="2880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10960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AD56CE-34A6-1DCD-C312-CA99CAB9B9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F74D7532-7FCD-E54E-2D82-1D609A3F7E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18" b="56266"/>
          <a:stretch/>
        </p:blipFill>
        <p:spPr bwMode="auto">
          <a:xfrm>
            <a:off x="6370259" y="2444458"/>
            <a:ext cx="1874149" cy="328879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C378F3D1-5169-3E12-BA52-5A0E96E4E18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78" b="8283"/>
          <a:stretch/>
        </p:blipFill>
        <p:spPr>
          <a:xfrm>
            <a:off x="3648397" y="2444458"/>
            <a:ext cx="1846600" cy="328879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D67D8189-083B-B2D6-34B4-24C8BB5BCBB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963" b="8035"/>
          <a:stretch/>
        </p:blipFill>
        <p:spPr>
          <a:xfrm>
            <a:off x="948040" y="2432790"/>
            <a:ext cx="1782320" cy="3288798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E8F0B13E-436B-CC33-F87F-843997790E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E8F0B13E-436B-CC33-F87F-843997790E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AC6FC5A2-4F77-1DE3-335C-6AC922B508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350944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E5C543A-B88D-D6A0-9AC0-768074E640C7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93D6F55B-279C-7C62-1BB7-D8E932495A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384676" cy="306889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本人情報の登録に進みます。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E9C88493-08EC-D4FA-E058-3265D0858C17}"/>
              </a:ext>
            </a:extLst>
          </p:cNvPr>
          <p:cNvSpPr/>
          <p:nvPr/>
        </p:nvSpPr>
        <p:spPr>
          <a:xfrm>
            <a:off x="1160969" y="3867613"/>
            <a:ext cx="184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3F670DEB-3248-9475-FC98-5FB8885FD42D}"/>
              </a:ext>
            </a:extLst>
          </p:cNvPr>
          <p:cNvSpPr txBox="1"/>
          <p:nvPr/>
        </p:nvSpPr>
        <p:spPr>
          <a:xfrm>
            <a:off x="3584115" y="1713002"/>
            <a:ext cx="25000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確認コードを入力し「次へ」を押す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E63A5D21-C785-98C5-426F-FF6215F144A3}"/>
              </a:ext>
            </a:extLst>
          </p:cNvPr>
          <p:cNvSpPr txBox="1"/>
          <p:nvPr/>
        </p:nvSpPr>
        <p:spPr>
          <a:xfrm>
            <a:off x="5940152" y="1700808"/>
            <a:ext cx="29523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登録内容の確認をしながら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画面を上にスクロールする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D1BA91F6-C13B-82D7-C663-AD6F2FD58813}"/>
              </a:ext>
            </a:extLst>
          </p:cNvPr>
          <p:cNvSpPr txBox="1"/>
          <p:nvPr/>
        </p:nvSpPr>
        <p:spPr>
          <a:xfrm>
            <a:off x="507463" y="1700808"/>
            <a:ext cx="30564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電話番号とメールアドレス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を入力し「次へ」を押す</a:t>
            </a:r>
          </a:p>
        </p:txBody>
      </p:sp>
      <p:sp>
        <p:nvSpPr>
          <p:cNvPr id="10" name="上矢印 68">
            <a:extLst>
              <a:ext uri="{FF2B5EF4-FFF2-40B4-BE49-F238E27FC236}">
                <a16:creationId xmlns:a16="http://schemas.microsoft.com/office/drawing/2014/main" id="{8A49B34E-80D6-3E72-1450-3F876EADF23F}"/>
              </a:ext>
            </a:extLst>
          </p:cNvPr>
          <p:cNvSpPr>
            <a:spLocks noChangeAspect="1"/>
          </p:cNvSpPr>
          <p:nvPr/>
        </p:nvSpPr>
        <p:spPr>
          <a:xfrm>
            <a:off x="6927378" y="3496579"/>
            <a:ext cx="631902" cy="1811843"/>
          </a:xfrm>
          <a:prstGeom prst="upArrow">
            <a:avLst/>
          </a:prstGeom>
          <a:solidFill>
            <a:srgbClr val="FF000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rgbClr val="FF0000"/>
              </a:solidFill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C96B8D1E-806B-85BE-D5D5-F5E7B660CC27}"/>
              </a:ext>
            </a:extLst>
          </p:cNvPr>
          <p:cNvSpPr/>
          <p:nvPr/>
        </p:nvSpPr>
        <p:spPr>
          <a:xfrm>
            <a:off x="910307" y="3039541"/>
            <a:ext cx="1769066" cy="17319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2" name="図形グループ 67">
            <a:extLst>
              <a:ext uri="{FF2B5EF4-FFF2-40B4-BE49-F238E27FC236}">
                <a16:creationId xmlns:a16="http://schemas.microsoft.com/office/drawing/2014/main" id="{EE6B5186-8636-EF7B-E329-D8D30B99F946}"/>
              </a:ext>
            </a:extLst>
          </p:cNvPr>
          <p:cNvGrpSpPr/>
          <p:nvPr/>
        </p:nvGrpSpPr>
        <p:grpSpPr>
          <a:xfrm>
            <a:off x="827584" y="2734456"/>
            <a:ext cx="296587" cy="293005"/>
            <a:chOff x="2897417" y="3995693"/>
            <a:chExt cx="296587" cy="293005"/>
          </a:xfrm>
        </p:grpSpPr>
        <p:sp>
          <p:nvSpPr>
            <p:cNvPr id="18" name="円/楕円 68">
              <a:extLst>
                <a:ext uri="{FF2B5EF4-FFF2-40B4-BE49-F238E27FC236}">
                  <a16:creationId xmlns:a16="http://schemas.microsoft.com/office/drawing/2014/main" id="{5F09243F-E870-25E3-795F-473A7A9A5593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7D6871AA-D4F6-38DB-4079-7402AB6325B4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CCA7E3DA-FC69-5778-9839-B16F3E2235C1}"/>
              </a:ext>
            </a:extLst>
          </p:cNvPr>
          <p:cNvSpPr/>
          <p:nvPr/>
        </p:nvSpPr>
        <p:spPr>
          <a:xfrm>
            <a:off x="4549802" y="5063446"/>
            <a:ext cx="917800" cy="36510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5" name="図形グループ 64">
            <a:extLst>
              <a:ext uri="{FF2B5EF4-FFF2-40B4-BE49-F238E27FC236}">
                <a16:creationId xmlns:a16="http://schemas.microsoft.com/office/drawing/2014/main" id="{EEDCBB7B-5D62-BA42-26EB-34DDA5842B4F}"/>
              </a:ext>
            </a:extLst>
          </p:cNvPr>
          <p:cNvGrpSpPr/>
          <p:nvPr/>
        </p:nvGrpSpPr>
        <p:grpSpPr>
          <a:xfrm>
            <a:off x="3450730" y="2767598"/>
            <a:ext cx="296586" cy="293005"/>
            <a:chOff x="3546641" y="3995693"/>
            <a:chExt cx="296586" cy="293005"/>
          </a:xfrm>
        </p:grpSpPr>
        <p:sp>
          <p:nvSpPr>
            <p:cNvPr id="26" name="円/楕円 65">
              <a:extLst>
                <a:ext uri="{FF2B5EF4-FFF2-40B4-BE49-F238E27FC236}">
                  <a16:creationId xmlns:a16="http://schemas.microsoft.com/office/drawing/2014/main" id="{A3D69563-FE85-D94A-222B-52AE31B64852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7" name="フリーフォーム 66">
              <a:extLst>
                <a:ext uri="{FF2B5EF4-FFF2-40B4-BE49-F238E27FC236}">
                  <a16:creationId xmlns:a16="http://schemas.microsoft.com/office/drawing/2014/main" id="{C16514C6-F77B-54FF-FBE1-36DF0F76DE30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28" name="図形グループ 61">
            <a:extLst>
              <a:ext uri="{FF2B5EF4-FFF2-40B4-BE49-F238E27FC236}">
                <a16:creationId xmlns:a16="http://schemas.microsoft.com/office/drawing/2014/main" id="{DCD96826-CF56-1326-6727-6C39EB5A7055}"/>
              </a:ext>
            </a:extLst>
          </p:cNvPr>
          <p:cNvGrpSpPr/>
          <p:nvPr/>
        </p:nvGrpSpPr>
        <p:grpSpPr>
          <a:xfrm>
            <a:off x="6682378" y="3402590"/>
            <a:ext cx="296586" cy="293005"/>
            <a:chOff x="4232441" y="3995693"/>
            <a:chExt cx="296586" cy="293005"/>
          </a:xfrm>
        </p:grpSpPr>
        <p:sp>
          <p:nvSpPr>
            <p:cNvPr id="29" name="円/楕円 62">
              <a:extLst>
                <a:ext uri="{FF2B5EF4-FFF2-40B4-BE49-F238E27FC236}">
                  <a16:creationId xmlns:a16="http://schemas.microsoft.com/office/drawing/2014/main" id="{5D238449-D34B-C555-C8EF-4C36B8F659CA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30" name="フリーフォーム 63">
              <a:extLst>
                <a:ext uri="{FF2B5EF4-FFF2-40B4-BE49-F238E27FC236}">
                  <a16:creationId xmlns:a16="http://schemas.microsoft.com/office/drawing/2014/main" id="{2A9027CC-0C11-E236-55BE-B7E2AF90477B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6CB0FA1C-0A3F-8BE0-1DF7-75CD8761B07B}"/>
              </a:ext>
            </a:extLst>
          </p:cNvPr>
          <p:cNvSpPr/>
          <p:nvPr/>
        </p:nvSpPr>
        <p:spPr>
          <a:xfrm>
            <a:off x="3639339" y="3077121"/>
            <a:ext cx="1831709" cy="108386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BAAF6D58-E0A8-EBAF-4BAA-2DA1476846C5}"/>
              </a:ext>
            </a:extLst>
          </p:cNvPr>
          <p:cNvSpPr/>
          <p:nvPr/>
        </p:nvSpPr>
        <p:spPr>
          <a:xfrm>
            <a:off x="1774168" y="5056843"/>
            <a:ext cx="917800" cy="36510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55C09B0C-D822-4A83-08DE-BC934270D29F}"/>
              </a:ext>
            </a:extLst>
          </p:cNvPr>
          <p:cNvSpPr txBox="1"/>
          <p:nvPr/>
        </p:nvSpPr>
        <p:spPr>
          <a:xfrm>
            <a:off x="467544" y="5805119"/>
            <a:ext cx="27916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97811"/>
            <a:r>
              <a:rPr lang="en-US" altLang="ja-JP" sz="1400" b="1" dirty="0">
                <a:solidFill>
                  <a:srgbClr val="009650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lang="ja-JP" altLang="en-US" sz="1400" b="1" dirty="0">
                <a:solidFill>
                  <a:srgbClr val="009650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電話番号及びメールアドレスの</a:t>
            </a:r>
            <a:endParaRPr lang="en-US" altLang="ja-JP" sz="1400" b="1" dirty="0">
              <a:solidFill>
                <a:srgbClr val="009650"/>
              </a:solidFill>
              <a:effectLst/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indent="97811"/>
            <a:r>
              <a:rPr lang="ja-JP" altLang="en-US" sz="1400" b="1" dirty="0">
                <a:solidFill>
                  <a:srgbClr val="009650"/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rPr>
              <a:t>入力は任意となります。</a:t>
            </a:r>
            <a:endParaRPr lang="en-US" altLang="ja-JP" sz="1400" b="1" dirty="0">
              <a:solidFill>
                <a:srgbClr val="009650"/>
              </a:solidFill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E4619A03-75EA-D486-A434-35FE679991BC}"/>
              </a:ext>
            </a:extLst>
          </p:cNvPr>
          <p:cNvSpPr txBox="1"/>
          <p:nvPr/>
        </p:nvSpPr>
        <p:spPr>
          <a:xfrm>
            <a:off x="3203848" y="5858108"/>
            <a:ext cx="534935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9781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400" b="1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400" b="1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任意項目である「メールアドレス」を入力しなかった場合は、「確認コード入力画面」はスキップされます。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389918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4A2F1F-127F-CA97-B422-36EBF81E9A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687111BB-BF15-F1F0-CF8E-1210D564A7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77" b="7919"/>
          <a:stretch/>
        </p:blipFill>
        <p:spPr bwMode="auto">
          <a:xfrm>
            <a:off x="2275682" y="2924944"/>
            <a:ext cx="1870105" cy="32888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F76E814D-0F0C-80B5-FDB9-4AF1F977ED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F76E814D-0F0C-80B5-FDB9-4AF1F977E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B99742BA-98C3-BB74-4707-E4BC95F931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350944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036C32F-7D86-6022-DD1B-2E59453339AB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BEC28953-EA8C-9016-162C-77F6302D6E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384676" cy="306889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本人情報の登録に進みます。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174C74B1-DCF2-685C-2B7F-3C29660EE04A}"/>
              </a:ext>
            </a:extLst>
          </p:cNvPr>
          <p:cNvSpPr txBox="1"/>
          <p:nvPr/>
        </p:nvSpPr>
        <p:spPr>
          <a:xfrm>
            <a:off x="2051720" y="1772816"/>
            <a:ext cx="22044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登録内容に問題が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なければ「次へ」を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押す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935A0BA2-DA75-5A7A-E9AD-3A9E9899EDB1}"/>
              </a:ext>
            </a:extLst>
          </p:cNvPr>
          <p:cNvSpPr/>
          <p:nvPr/>
        </p:nvSpPr>
        <p:spPr>
          <a:xfrm>
            <a:off x="3211087" y="5800577"/>
            <a:ext cx="906305" cy="3911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3" name="図形グループ 58">
            <a:extLst>
              <a:ext uri="{FF2B5EF4-FFF2-40B4-BE49-F238E27FC236}">
                <a16:creationId xmlns:a16="http://schemas.microsoft.com/office/drawing/2014/main" id="{70AFF1F4-55C0-23A8-6EEE-D649CB994745}"/>
              </a:ext>
            </a:extLst>
          </p:cNvPr>
          <p:cNvGrpSpPr/>
          <p:nvPr/>
        </p:nvGrpSpPr>
        <p:grpSpPr>
          <a:xfrm>
            <a:off x="2943847" y="5501445"/>
            <a:ext cx="296586" cy="293005"/>
            <a:chOff x="5101121" y="3995693"/>
            <a:chExt cx="296586" cy="293005"/>
          </a:xfrm>
        </p:grpSpPr>
        <p:sp>
          <p:nvSpPr>
            <p:cNvPr id="35" name="円/楕円 59">
              <a:extLst>
                <a:ext uri="{FF2B5EF4-FFF2-40B4-BE49-F238E27FC236}">
                  <a16:creationId xmlns:a16="http://schemas.microsoft.com/office/drawing/2014/main" id="{FD1846A5-879E-7CD2-939D-C54EE5E71B9E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6" name="フリーフォーム 60">
              <a:extLst>
                <a:ext uri="{FF2B5EF4-FFF2-40B4-BE49-F238E27FC236}">
                  <a16:creationId xmlns:a16="http://schemas.microsoft.com/office/drawing/2014/main" id="{75FDE57E-4C05-8852-5680-51FB59948B94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14" name="図 13">
            <a:extLst>
              <a:ext uri="{FF2B5EF4-FFF2-40B4-BE49-F238E27FC236}">
                <a16:creationId xmlns:a16="http://schemas.microsoft.com/office/drawing/2014/main" id="{B2AFC215-76C3-D0D6-D364-922D31DC02B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274"/>
          <a:stretch/>
        </p:blipFill>
        <p:spPr>
          <a:xfrm>
            <a:off x="5048935" y="2965779"/>
            <a:ext cx="1923762" cy="3259631"/>
          </a:xfrm>
          <a:prstGeom prst="rect">
            <a:avLst/>
          </a:prstGeom>
        </p:spPr>
      </p:pic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7754387F-263E-67F7-46F7-558CF6ABE397}"/>
              </a:ext>
            </a:extLst>
          </p:cNvPr>
          <p:cNvSpPr txBox="1"/>
          <p:nvPr/>
        </p:nvSpPr>
        <p:spPr>
          <a:xfrm>
            <a:off x="4742019" y="1772816"/>
            <a:ext cx="23015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口座情報の照会が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始まるので少し待つ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53F83FA7-EE15-FDB7-D7A3-D42AF5123836}"/>
              </a:ext>
            </a:extLst>
          </p:cNvPr>
          <p:cNvSpPr/>
          <p:nvPr/>
        </p:nvSpPr>
        <p:spPr>
          <a:xfrm>
            <a:off x="4919648" y="2533853"/>
            <a:ext cx="6247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6DA3A4AB-D7B6-A903-3F43-464C7921A4F7}"/>
              </a:ext>
            </a:extLst>
          </p:cNvPr>
          <p:cNvSpPr/>
          <p:nvPr/>
        </p:nvSpPr>
        <p:spPr>
          <a:xfrm>
            <a:off x="5097343" y="3933056"/>
            <a:ext cx="1824633" cy="156838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389384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12F09E-2ED6-B846-EB12-74D4CA233B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>
            <a:extLst>
              <a:ext uri="{FF2B5EF4-FFF2-40B4-BE49-F238E27FC236}">
                <a16:creationId xmlns:a16="http://schemas.microsoft.com/office/drawing/2014/main" id="{4EF74884-DB9D-4D51-ACBA-9B6084682B8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4271" y="2852937"/>
            <a:ext cx="1882185" cy="32887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447FCC7C-0C24-45BC-8124-E07992E77AE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8506" y="2870284"/>
            <a:ext cx="1878882" cy="330046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F501A1A0-2614-1015-FEDF-B6C31E05794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95" b="8371"/>
          <a:stretch/>
        </p:blipFill>
        <p:spPr>
          <a:xfrm>
            <a:off x="454219" y="2864604"/>
            <a:ext cx="1849641" cy="327713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08EC4087-895B-4ED7-B84C-E9F8CED09B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35"/>
          <a:stretch/>
        </p:blipFill>
        <p:spPr bwMode="auto">
          <a:xfrm>
            <a:off x="2610743" y="2852936"/>
            <a:ext cx="1690880" cy="330046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EAA4CB75-A0B6-E2CD-6CE8-4CDDA0E70A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EAA4CB75-A0B6-E2CD-6CE8-4CDDA0E70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E38B870B-68FC-7113-AD58-E01AD6681B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350944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A2430BB-4509-2F44-4FC8-20AC2201C245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7E9ADC63-CA51-A57D-BF2F-E1196C11D3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384676" cy="306889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マイナンバーカードを読み取り本人確認に進みます。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AC0F764-0F28-57FA-F76E-77CB6B16AB2C}"/>
              </a:ext>
            </a:extLst>
          </p:cNvPr>
          <p:cNvSpPr txBox="1"/>
          <p:nvPr/>
        </p:nvSpPr>
        <p:spPr>
          <a:xfrm>
            <a:off x="6588224" y="1772816"/>
            <a:ext cx="23042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マイナンバーカード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をスマートフォン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裏面に密着させる</a:t>
            </a:r>
          </a:p>
          <a:p>
            <a:pPr indent="-417600"/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9DF565EF-2936-39DC-49C3-A974A0237358}"/>
              </a:ext>
            </a:extLst>
          </p:cNvPr>
          <p:cNvSpPr/>
          <p:nvPr/>
        </p:nvSpPr>
        <p:spPr>
          <a:xfrm>
            <a:off x="736745" y="4371435"/>
            <a:ext cx="184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A9D51334-498E-4E00-FC59-B3637B5456AF}"/>
              </a:ext>
            </a:extLst>
          </p:cNvPr>
          <p:cNvSpPr txBox="1"/>
          <p:nvPr/>
        </p:nvSpPr>
        <p:spPr>
          <a:xfrm>
            <a:off x="2503995" y="1772816"/>
            <a:ext cx="19239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パスワードを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入力する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B3D1A9B6-9DBD-A54F-E1D5-ADE5674D8319}"/>
              </a:ext>
            </a:extLst>
          </p:cNvPr>
          <p:cNvSpPr txBox="1"/>
          <p:nvPr/>
        </p:nvSpPr>
        <p:spPr>
          <a:xfrm>
            <a:off x="4430724" y="1772816"/>
            <a:ext cx="23015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「読み取り開始」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を押す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FD18725-FE71-4AEF-1CDC-1A8C4876832B}"/>
              </a:ext>
            </a:extLst>
          </p:cNvPr>
          <p:cNvSpPr txBox="1"/>
          <p:nvPr/>
        </p:nvSpPr>
        <p:spPr>
          <a:xfrm>
            <a:off x="395535" y="1772816"/>
            <a:ext cx="23015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マイナンバー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カードを読み取る」</a:t>
            </a:r>
            <a:b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</a:b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  <a:p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AAD7F7BF-8A5E-5E6D-A719-707C6AE40A42}"/>
              </a:ext>
            </a:extLst>
          </p:cNvPr>
          <p:cNvSpPr/>
          <p:nvPr/>
        </p:nvSpPr>
        <p:spPr>
          <a:xfrm>
            <a:off x="452304" y="5114397"/>
            <a:ext cx="1849641" cy="33082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0" name="図形グループ 67">
            <a:extLst>
              <a:ext uri="{FF2B5EF4-FFF2-40B4-BE49-F238E27FC236}">
                <a16:creationId xmlns:a16="http://schemas.microsoft.com/office/drawing/2014/main" id="{3F4DC044-66E3-AD82-DF9C-E04264B03A5C}"/>
              </a:ext>
            </a:extLst>
          </p:cNvPr>
          <p:cNvGrpSpPr/>
          <p:nvPr/>
        </p:nvGrpSpPr>
        <p:grpSpPr>
          <a:xfrm>
            <a:off x="290907" y="4805470"/>
            <a:ext cx="296587" cy="293005"/>
            <a:chOff x="2897417" y="3995693"/>
            <a:chExt cx="296587" cy="293005"/>
          </a:xfrm>
        </p:grpSpPr>
        <p:sp>
          <p:nvSpPr>
            <p:cNvPr id="21" name="円/楕円 68">
              <a:extLst>
                <a:ext uri="{FF2B5EF4-FFF2-40B4-BE49-F238E27FC236}">
                  <a16:creationId xmlns:a16="http://schemas.microsoft.com/office/drawing/2014/main" id="{A9F1F4B8-41D7-0DF4-0553-EA1E70B17B21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16D4B668-1AA3-913D-73B7-39383AFE8681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7EB43959-0344-60AA-58D4-05149DFEA6C0}"/>
              </a:ext>
            </a:extLst>
          </p:cNvPr>
          <p:cNvSpPr/>
          <p:nvPr/>
        </p:nvSpPr>
        <p:spPr>
          <a:xfrm>
            <a:off x="2610743" y="3444786"/>
            <a:ext cx="1690880" cy="36510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4" name="図形グループ 64">
            <a:extLst>
              <a:ext uri="{FF2B5EF4-FFF2-40B4-BE49-F238E27FC236}">
                <a16:creationId xmlns:a16="http://schemas.microsoft.com/office/drawing/2014/main" id="{13DF8ED4-E4D5-9B36-71FC-A7B0BD2D78A4}"/>
              </a:ext>
            </a:extLst>
          </p:cNvPr>
          <p:cNvGrpSpPr/>
          <p:nvPr/>
        </p:nvGrpSpPr>
        <p:grpSpPr>
          <a:xfrm>
            <a:off x="2465941" y="3135995"/>
            <a:ext cx="296586" cy="293005"/>
            <a:chOff x="3546641" y="3995693"/>
            <a:chExt cx="296586" cy="293005"/>
          </a:xfrm>
        </p:grpSpPr>
        <p:sp>
          <p:nvSpPr>
            <p:cNvPr id="25" name="円/楕円 65">
              <a:extLst>
                <a:ext uri="{FF2B5EF4-FFF2-40B4-BE49-F238E27FC236}">
                  <a16:creationId xmlns:a16="http://schemas.microsoft.com/office/drawing/2014/main" id="{CE752671-16AB-15DA-934D-02631BD6F2F6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6" name="フリーフォーム 66">
              <a:extLst>
                <a:ext uri="{FF2B5EF4-FFF2-40B4-BE49-F238E27FC236}">
                  <a16:creationId xmlns:a16="http://schemas.microsoft.com/office/drawing/2014/main" id="{A46F48DD-79A5-FF1A-9256-BC0693A77879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27" name="図形グループ 61">
            <a:extLst>
              <a:ext uri="{FF2B5EF4-FFF2-40B4-BE49-F238E27FC236}">
                <a16:creationId xmlns:a16="http://schemas.microsoft.com/office/drawing/2014/main" id="{22B50F5F-85CE-3959-6432-59DFC05C367A}"/>
              </a:ext>
            </a:extLst>
          </p:cNvPr>
          <p:cNvGrpSpPr/>
          <p:nvPr/>
        </p:nvGrpSpPr>
        <p:grpSpPr>
          <a:xfrm>
            <a:off x="4471817" y="5445224"/>
            <a:ext cx="296586" cy="293005"/>
            <a:chOff x="4232441" y="3995693"/>
            <a:chExt cx="296586" cy="293005"/>
          </a:xfrm>
        </p:grpSpPr>
        <p:sp>
          <p:nvSpPr>
            <p:cNvPr id="28" name="円/楕円 62">
              <a:extLst>
                <a:ext uri="{FF2B5EF4-FFF2-40B4-BE49-F238E27FC236}">
                  <a16:creationId xmlns:a16="http://schemas.microsoft.com/office/drawing/2014/main" id="{4189F9F6-CF5B-1911-C882-C55C7367F3DB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9" name="フリーフォーム 63">
              <a:extLst>
                <a:ext uri="{FF2B5EF4-FFF2-40B4-BE49-F238E27FC236}">
                  <a16:creationId xmlns:a16="http://schemas.microsoft.com/office/drawing/2014/main" id="{F2291628-CC92-720B-C048-4A5A26ADC6D7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AB2AA141-C470-D555-7893-715126D1F10E}"/>
              </a:ext>
            </a:extLst>
          </p:cNvPr>
          <p:cNvSpPr/>
          <p:nvPr/>
        </p:nvSpPr>
        <p:spPr>
          <a:xfrm>
            <a:off x="4595907" y="5760763"/>
            <a:ext cx="1878882" cy="3926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7081DFD5-AF59-C564-C1F0-0DE109985E15}"/>
              </a:ext>
            </a:extLst>
          </p:cNvPr>
          <p:cNvSpPr/>
          <p:nvPr/>
        </p:nvSpPr>
        <p:spPr>
          <a:xfrm>
            <a:off x="6793116" y="4077072"/>
            <a:ext cx="1883340" cy="206466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2" name="図形グループ 58">
            <a:extLst>
              <a:ext uri="{FF2B5EF4-FFF2-40B4-BE49-F238E27FC236}">
                <a16:creationId xmlns:a16="http://schemas.microsoft.com/office/drawing/2014/main" id="{A4781C44-4A4B-9FFD-23AF-6580C4A651A6}"/>
              </a:ext>
            </a:extLst>
          </p:cNvPr>
          <p:cNvGrpSpPr/>
          <p:nvPr/>
        </p:nvGrpSpPr>
        <p:grpSpPr>
          <a:xfrm>
            <a:off x="6721180" y="3784067"/>
            <a:ext cx="296586" cy="293005"/>
            <a:chOff x="5101121" y="3995693"/>
            <a:chExt cx="296586" cy="293005"/>
          </a:xfrm>
        </p:grpSpPr>
        <p:sp>
          <p:nvSpPr>
            <p:cNvPr id="33" name="円/楕円 59">
              <a:extLst>
                <a:ext uri="{FF2B5EF4-FFF2-40B4-BE49-F238E27FC236}">
                  <a16:creationId xmlns:a16="http://schemas.microsoft.com/office/drawing/2014/main" id="{34BEB750-6E14-47F0-ED22-D94310E79153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フリーフォーム 60">
              <a:extLst>
                <a:ext uri="{FF2B5EF4-FFF2-40B4-BE49-F238E27FC236}">
                  <a16:creationId xmlns:a16="http://schemas.microsoft.com/office/drawing/2014/main" id="{20E64B08-8AD5-0E9B-0CDB-1436EE109931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6140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0F021B-2723-ECFA-E06F-A7A2B5930E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4FCEB2DD-48C1-F626-4948-A363EFF1FED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10" b="56161"/>
          <a:stretch/>
        </p:blipFill>
        <p:spPr>
          <a:xfrm>
            <a:off x="2634650" y="2936610"/>
            <a:ext cx="1765973" cy="326296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C4315077-5799-C764-3299-6F58AE22B61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43" b="10544"/>
          <a:stretch/>
        </p:blipFill>
        <p:spPr>
          <a:xfrm>
            <a:off x="6759206" y="2936612"/>
            <a:ext cx="1889291" cy="33007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8C4C6786-3C87-3ABF-235F-1A04FDA0AA3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86" b="9092"/>
          <a:stretch/>
        </p:blipFill>
        <p:spPr>
          <a:xfrm>
            <a:off x="539552" y="2936611"/>
            <a:ext cx="1859107" cy="326296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EDCCC43F-786E-BA56-8EBB-7BE9B311FD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EDCCC43F-786E-BA56-8EBB-7BE9B311F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740D0B2E-8EBC-F73E-12EB-13F79D5FC5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350944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DD5B3D7-A60B-8AF1-E316-BB5D1E98D92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E652E73-374E-DDCA-A364-19D8D9DA9FEC}"/>
              </a:ext>
            </a:extLst>
          </p:cNvPr>
          <p:cNvSpPr txBox="1"/>
          <p:nvPr/>
        </p:nvSpPr>
        <p:spPr>
          <a:xfrm>
            <a:off x="6588224" y="1772816"/>
            <a:ext cx="22044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➑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登録手続き完了が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表示されれば公金口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座登録は完了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74AB09C-FA28-1580-24D0-25FA6635F61E}"/>
              </a:ext>
            </a:extLst>
          </p:cNvPr>
          <p:cNvSpPr/>
          <p:nvPr/>
        </p:nvSpPr>
        <p:spPr>
          <a:xfrm>
            <a:off x="736745" y="4371435"/>
            <a:ext cx="184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31CD16F8-EC11-4A85-F7DE-50B794AC1085}"/>
              </a:ext>
            </a:extLst>
          </p:cNvPr>
          <p:cNvSpPr txBox="1"/>
          <p:nvPr/>
        </p:nvSpPr>
        <p:spPr>
          <a:xfrm>
            <a:off x="2503995" y="1772816"/>
            <a:ext cx="19239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同意内容を確認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しながら上に</a:t>
            </a:r>
            <a:br>
              <a:rPr lang="en-US" altLang="ja-JP" sz="1600" b="1" spc="-16" dirty="0">
                <a:latin typeface="Meiryo" charset="-128"/>
                <a:ea typeface="Meiryo" charset="-128"/>
                <a:cs typeface="AoyagiKouzanFontT"/>
              </a:rPr>
            </a:br>
            <a:r>
              <a:rPr lang="en-US" altLang="ja-JP" sz="1600" b="1" spc="-16" dirty="0">
                <a:latin typeface="Meiryo" charset="-128"/>
                <a:ea typeface="Meiryo" charset="-128"/>
                <a:cs typeface="AoyagiKouzanFontT"/>
              </a:rPr>
              <a:t>   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スクロールする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83637E43-AFB9-DB97-6DE2-D8E55320D91A}"/>
              </a:ext>
            </a:extLst>
          </p:cNvPr>
          <p:cNvSpPr txBox="1"/>
          <p:nvPr/>
        </p:nvSpPr>
        <p:spPr>
          <a:xfrm>
            <a:off x="4358716" y="1772816"/>
            <a:ext cx="23015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➐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確認事項に同意する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際はチェックを入れ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「登録」を押す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FD384B00-53BE-AF96-1E2A-F6195DE3BAFA}"/>
              </a:ext>
            </a:extLst>
          </p:cNvPr>
          <p:cNvSpPr txBox="1"/>
          <p:nvPr/>
        </p:nvSpPr>
        <p:spPr>
          <a:xfrm>
            <a:off x="395535" y="1772816"/>
            <a:ext cx="21872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本人確認完了の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表示が出たら</a:t>
            </a:r>
            <a:b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</a:b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次へ」を押す</a:t>
            </a:r>
          </a:p>
        </p:txBody>
      </p:sp>
      <p:sp>
        <p:nvSpPr>
          <p:cNvPr id="8" name="上矢印 68">
            <a:extLst>
              <a:ext uri="{FF2B5EF4-FFF2-40B4-BE49-F238E27FC236}">
                <a16:creationId xmlns:a16="http://schemas.microsoft.com/office/drawing/2014/main" id="{56C5E202-7D02-04E1-3D62-19471B828558}"/>
              </a:ext>
            </a:extLst>
          </p:cNvPr>
          <p:cNvSpPr>
            <a:spLocks noChangeAspect="1"/>
          </p:cNvSpPr>
          <p:nvPr/>
        </p:nvSpPr>
        <p:spPr>
          <a:xfrm>
            <a:off x="3203848" y="3988733"/>
            <a:ext cx="631902" cy="1811843"/>
          </a:xfrm>
          <a:prstGeom prst="upArrow">
            <a:avLst/>
          </a:prstGeom>
          <a:solidFill>
            <a:srgbClr val="FF000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rgbClr val="FF0000"/>
              </a:solidFill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7965C7E3-215B-F69F-904E-227109C4488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24" t="56808" r="224" b="4247"/>
          <a:stretch/>
        </p:blipFill>
        <p:spPr>
          <a:xfrm>
            <a:off x="4636614" y="2936612"/>
            <a:ext cx="1886600" cy="33007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887D909E-88E8-8725-70FA-EC5D9369622A}"/>
              </a:ext>
            </a:extLst>
          </p:cNvPr>
          <p:cNvSpPr/>
          <p:nvPr/>
        </p:nvSpPr>
        <p:spPr>
          <a:xfrm>
            <a:off x="1446924" y="5586959"/>
            <a:ext cx="926736" cy="36232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5D83A9FB-81C3-2042-E016-A715D21A29C5}"/>
              </a:ext>
            </a:extLst>
          </p:cNvPr>
          <p:cNvSpPr/>
          <p:nvPr/>
        </p:nvSpPr>
        <p:spPr>
          <a:xfrm>
            <a:off x="4632881" y="5123307"/>
            <a:ext cx="443176" cy="32191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FB5C7808-3BCE-B7A0-BC6E-0AA6C8C5EBC2}"/>
              </a:ext>
            </a:extLst>
          </p:cNvPr>
          <p:cNvSpPr/>
          <p:nvPr/>
        </p:nvSpPr>
        <p:spPr>
          <a:xfrm>
            <a:off x="6770256" y="5706968"/>
            <a:ext cx="1883340" cy="29159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67EAE08F-3CDF-0D30-4D5D-D3CD287EED6C}"/>
              </a:ext>
            </a:extLst>
          </p:cNvPr>
          <p:cNvSpPr/>
          <p:nvPr/>
        </p:nvSpPr>
        <p:spPr>
          <a:xfrm>
            <a:off x="4632881" y="5426058"/>
            <a:ext cx="1890333" cy="37920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0" name="字幕 14">
            <a:extLst>
              <a:ext uri="{FF2B5EF4-FFF2-40B4-BE49-F238E27FC236}">
                <a16:creationId xmlns:a16="http://schemas.microsoft.com/office/drawing/2014/main" id="{D105693B-829B-DADA-973E-1AFF895176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384676" cy="306889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マイナンバーカードを読み取り本人確認に進みます。</a:t>
            </a:r>
          </a:p>
        </p:txBody>
      </p:sp>
      <p:grpSp>
        <p:nvGrpSpPr>
          <p:cNvPr id="41" name="図形グループ 25">
            <a:extLst>
              <a:ext uri="{FF2B5EF4-FFF2-40B4-BE49-F238E27FC236}">
                <a16:creationId xmlns:a16="http://schemas.microsoft.com/office/drawing/2014/main" id="{F7CF62D9-6FAA-7A46-59AA-80F0B479F829}"/>
              </a:ext>
            </a:extLst>
          </p:cNvPr>
          <p:cNvGrpSpPr/>
          <p:nvPr/>
        </p:nvGrpSpPr>
        <p:grpSpPr>
          <a:xfrm>
            <a:off x="2685398" y="3696345"/>
            <a:ext cx="595035" cy="584775"/>
            <a:chOff x="7368792" y="2507809"/>
            <a:chExt cx="595035" cy="584775"/>
          </a:xfrm>
        </p:grpSpPr>
        <p:sp>
          <p:nvSpPr>
            <p:cNvPr id="42" name="円/楕円 26">
              <a:extLst>
                <a:ext uri="{FF2B5EF4-FFF2-40B4-BE49-F238E27FC236}">
                  <a16:creationId xmlns:a16="http://schemas.microsoft.com/office/drawing/2014/main" id="{CBD84E7B-9C97-B99A-E8A5-5801E38224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18126" y="2583048"/>
              <a:ext cx="432319" cy="4323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正方形/長方形 42">
              <a:extLst>
                <a:ext uri="{FF2B5EF4-FFF2-40B4-BE49-F238E27FC236}">
                  <a16:creationId xmlns:a16="http://schemas.microsoft.com/office/drawing/2014/main" id="{71D7BD88-5D7A-7479-F772-62D68D6B3208}"/>
                </a:ext>
              </a:extLst>
            </p:cNvPr>
            <p:cNvSpPr/>
            <p:nvPr/>
          </p:nvSpPr>
          <p:spPr>
            <a:xfrm>
              <a:off x="7368792" y="2507809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4" name="図形グループ 28">
            <a:extLst>
              <a:ext uri="{FF2B5EF4-FFF2-40B4-BE49-F238E27FC236}">
                <a16:creationId xmlns:a16="http://schemas.microsoft.com/office/drawing/2014/main" id="{A95108A7-7AD3-F102-80BB-4FC9B7B2AE1E}"/>
              </a:ext>
            </a:extLst>
          </p:cNvPr>
          <p:cNvGrpSpPr/>
          <p:nvPr/>
        </p:nvGrpSpPr>
        <p:grpSpPr>
          <a:xfrm>
            <a:off x="1144307" y="5099428"/>
            <a:ext cx="595035" cy="584775"/>
            <a:chOff x="7464985" y="2673548"/>
            <a:chExt cx="595035" cy="584775"/>
          </a:xfrm>
        </p:grpSpPr>
        <p:sp>
          <p:nvSpPr>
            <p:cNvPr id="45" name="円/楕円 29">
              <a:extLst>
                <a:ext uri="{FF2B5EF4-FFF2-40B4-BE49-F238E27FC236}">
                  <a16:creationId xmlns:a16="http://schemas.microsoft.com/office/drawing/2014/main" id="{784433F4-418B-37DB-6F29-021287A8FD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正方形/長方形 45">
              <a:extLst>
                <a:ext uri="{FF2B5EF4-FFF2-40B4-BE49-F238E27FC236}">
                  <a16:creationId xmlns:a16="http://schemas.microsoft.com/office/drawing/2014/main" id="{32811EB0-6B69-80C3-4086-4615378078DF}"/>
                </a:ext>
              </a:extLst>
            </p:cNvPr>
            <p:cNvSpPr/>
            <p:nvPr/>
          </p:nvSpPr>
          <p:spPr>
            <a:xfrm>
              <a:off x="7464985" y="2673548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7" name="図形グループ 25">
            <a:extLst>
              <a:ext uri="{FF2B5EF4-FFF2-40B4-BE49-F238E27FC236}">
                <a16:creationId xmlns:a16="http://schemas.microsoft.com/office/drawing/2014/main" id="{AB77EDC4-1B21-65F9-2D2B-9B6D7B360C27}"/>
              </a:ext>
            </a:extLst>
          </p:cNvPr>
          <p:cNvGrpSpPr/>
          <p:nvPr/>
        </p:nvGrpSpPr>
        <p:grpSpPr>
          <a:xfrm>
            <a:off x="4636614" y="4581858"/>
            <a:ext cx="595035" cy="584775"/>
            <a:chOff x="7368791" y="2507809"/>
            <a:chExt cx="595035" cy="584775"/>
          </a:xfrm>
        </p:grpSpPr>
        <p:sp>
          <p:nvSpPr>
            <p:cNvPr id="48" name="円/楕円 26">
              <a:extLst>
                <a:ext uri="{FF2B5EF4-FFF2-40B4-BE49-F238E27FC236}">
                  <a16:creationId xmlns:a16="http://schemas.microsoft.com/office/drawing/2014/main" id="{C27EFE74-868C-984A-AE7D-BD97462C34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18126" y="2583048"/>
              <a:ext cx="432319" cy="4323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791B585F-0AAA-C8D8-42BF-86CB711EFBCC}"/>
                </a:ext>
              </a:extLst>
            </p:cNvPr>
            <p:cNvSpPr/>
            <p:nvPr/>
          </p:nvSpPr>
          <p:spPr>
            <a:xfrm>
              <a:off x="7368791" y="2507809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➐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0" name="図形グループ 25">
            <a:extLst>
              <a:ext uri="{FF2B5EF4-FFF2-40B4-BE49-F238E27FC236}">
                <a16:creationId xmlns:a16="http://schemas.microsoft.com/office/drawing/2014/main" id="{8371F34B-1583-0052-238B-D563D880192C}"/>
              </a:ext>
            </a:extLst>
          </p:cNvPr>
          <p:cNvGrpSpPr/>
          <p:nvPr/>
        </p:nvGrpSpPr>
        <p:grpSpPr>
          <a:xfrm>
            <a:off x="6770255" y="5178106"/>
            <a:ext cx="595035" cy="584775"/>
            <a:chOff x="7368790" y="2507809"/>
            <a:chExt cx="595035" cy="584775"/>
          </a:xfrm>
        </p:grpSpPr>
        <p:sp>
          <p:nvSpPr>
            <p:cNvPr id="51" name="円/楕円 26">
              <a:extLst>
                <a:ext uri="{FF2B5EF4-FFF2-40B4-BE49-F238E27FC236}">
                  <a16:creationId xmlns:a16="http://schemas.microsoft.com/office/drawing/2014/main" id="{F13ED5D7-8213-CDBD-C00C-1E4D2400A5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18126" y="2583048"/>
              <a:ext cx="432319" cy="4323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2DFD3040-AB3E-CAB1-CC1E-9FE378EDF029}"/>
                </a:ext>
              </a:extLst>
            </p:cNvPr>
            <p:cNvSpPr/>
            <p:nvPr/>
          </p:nvSpPr>
          <p:spPr>
            <a:xfrm>
              <a:off x="7368790" y="2507809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➑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491113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B</a:t>
            </a:r>
            <a:endParaRPr lang="en-US" sz="3600" dirty="0"/>
          </a:p>
        </p:txBody>
      </p:sp>
      <p:pic>
        <p:nvPicPr>
          <p:cNvPr id="7" name="図 6" descr="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006"/>
          <a:stretch/>
        </p:blipFill>
        <p:spPr>
          <a:xfrm>
            <a:off x="7308304" y="3798946"/>
            <a:ext cx="1187992" cy="1537537"/>
          </a:xfrm>
          <a:prstGeom prst="rect">
            <a:avLst/>
          </a:prstGeom>
        </p:spPr>
      </p:pic>
      <p:sp>
        <p:nvSpPr>
          <p:cNvPr id="14" name="サブタイトル 2" descr="&#10;"/>
          <p:cNvSpPr>
            <a:spLocks noGrp="1"/>
          </p:cNvSpPr>
          <p:nvPr>
            <p:ph type="subTitle" idx="1"/>
          </p:nvPr>
        </p:nvSpPr>
        <p:spPr>
          <a:xfrm>
            <a:off x="1771210" y="1403293"/>
            <a:ext cx="6858000" cy="1655762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公金受取口座登録制度の詳細やよくある質問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公金受取口座登録が可能な金融機関などは</a:t>
            </a:r>
            <a:r>
              <a:rPr lang="ja-JP" altLang="en-US" spc="-1000" dirty="0"/>
              <a:t>、</a:t>
            </a:r>
            <a:endParaRPr lang="en-US" altLang="ja-JP" spc="-10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以下のサイトをご参照ください。</a:t>
            </a:r>
            <a:endParaRPr lang="en-US" altLang="ja-JP" sz="2000" kern="1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</a:rPr>
              <a:t>①公金受取口座登録制</a:t>
            </a:r>
            <a:r>
              <a:rPr kumimoji="1" lang="ja-JP" altLang="en-US" sz="2000" b="1" i="0" u="none" strike="noStrike" kern="100" cap="none" spc="-75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</a:rPr>
              <a:t>度</a:t>
            </a:r>
            <a:r>
              <a:rPr kumimoji="1" lang="ja-JP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</a:rPr>
              <a:t>（詳細やよくある質問）</a:t>
            </a:r>
            <a:endParaRPr kumimoji="1" lang="ja-JP" altLang="ja-JP" sz="2000" b="1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4"/>
              </a:rPr>
              <a:t>https://www.digital.go.jp/policies/account_registration/</a:t>
            </a:r>
            <a:endParaRPr kumimoji="1" lang="en-US" altLang="ja-JP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en-US" sz="2000" kern="100" dirty="0"/>
              <a:t>②公金受取口座登録が可能な金融機関</a:t>
            </a:r>
            <a:endParaRPr lang="ja-JP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5"/>
              </a:rPr>
              <a:t>https://www.digital.go.jp/policies/account_registration_finance/</a:t>
            </a:r>
            <a:endParaRPr kumimoji="1" lang="en-US" altLang="ja-JP" sz="2000" b="1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</a:endParaRPr>
          </a:p>
        </p:txBody>
      </p:sp>
      <p:sp>
        <p:nvSpPr>
          <p:cNvPr id="16" name="タイトル 1"/>
          <p:cNvSpPr>
            <a:spLocks noGrp="1"/>
          </p:cNvSpPr>
          <p:nvPr>
            <p:ph type="ctrTitle"/>
          </p:nvPr>
        </p:nvSpPr>
        <p:spPr>
          <a:xfrm>
            <a:off x="1767718" y="330677"/>
            <a:ext cx="6340197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公金受取口座登録制度の詳細や</a:t>
            </a:r>
            <a:br>
              <a:rPr lang="en-US" altLang="ja-JP" dirty="0"/>
            </a:br>
            <a:r>
              <a:rPr lang="ja-JP" altLang="en-US" dirty="0"/>
              <a:t>登録が可能な金融機関の確認方法</a:t>
            </a:r>
            <a:endParaRPr lang="ja-JP" altLang="en-US" dirty="0">
              <a:solidFill>
                <a:srgbClr val="FF0000"/>
              </a:solidFill>
            </a:endParaRPr>
          </a:p>
        </p:txBody>
      </p:sp>
      <p:pic>
        <p:nvPicPr>
          <p:cNvPr id="17" name="図 16" descr="公金受取口座登録が可能な金融機関のQRコード">
            <a:extLst>
              <a:ext uri="{FF2B5EF4-FFF2-40B4-BE49-F238E27FC236}">
                <a16:creationId xmlns:a16="http://schemas.microsoft.com/office/drawing/2014/main" id="{3F011F4B-F819-4697-AA3A-9E2BC58CB0F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127" y="4789027"/>
            <a:ext cx="1094911" cy="1094911"/>
          </a:xfrm>
          <a:prstGeom prst="rect">
            <a:avLst/>
          </a:prstGeom>
        </p:spPr>
      </p:pic>
      <p:pic>
        <p:nvPicPr>
          <p:cNvPr id="18" name="図 17" descr="公金受取口座登録制度の詳細やよくある質問のQRコード">
            <a:extLst>
              <a:ext uri="{FF2B5EF4-FFF2-40B4-BE49-F238E27FC236}">
                <a16:creationId xmlns:a16="http://schemas.microsoft.com/office/drawing/2014/main" id="{079F8D2D-D3E6-4C1C-8646-4AC4479EC8C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169" y="3068960"/>
            <a:ext cx="1094911" cy="1094911"/>
          </a:xfrm>
          <a:prstGeom prst="rect">
            <a:avLst/>
          </a:prstGeom>
        </p:spPr>
      </p:pic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5D640B8-A38E-0406-5319-4740C1B3FB26}"/>
              </a:ext>
            </a:extLst>
          </p:cNvPr>
          <p:cNvSpPr txBox="1"/>
          <p:nvPr/>
        </p:nvSpPr>
        <p:spPr>
          <a:xfrm>
            <a:off x="177335" y="3000293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①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A81BC0D9-C8EF-D669-B3C4-C26D3109A92A}"/>
              </a:ext>
            </a:extLst>
          </p:cNvPr>
          <p:cNvSpPr txBox="1"/>
          <p:nvPr/>
        </p:nvSpPr>
        <p:spPr>
          <a:xfrm>
            <a:off x="172294" y="4722518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②</a:t>
            </a:r>
            <a:endParaRPr kumimoji="1" lang="ja-JP" altLang="en-US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69637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6684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マイナポータル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知りましょう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6" name="図 5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965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5D03262-4CEF-A97F-1759-7BF43AE7AA10}"/>
              </a:ext>
            </a:extLst>
          </p:cNvPr>
          <p:cNvSpPr txBox="1"/>
          <p:nvPr/>
        </p:nvSpPr>
        <p:spPr>
          <a:xfrm>
            <a:off x="2426628" y="2941577"/>
            <a:ext cx="652253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ja-JP" sz="1600" b="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❶</a:t>
            </a:r>
            <a:r>
              <a:rPr lang="ja-JP" altLang="en-US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対応のスマートフォンが必要です。 </a:t>
            </a:r>
            <a:endParaRPr lang="en-US" altLang="ja-JP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en-US" altLang="ja-JP" sz="120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パソコンを使用する場合は、マイナンバーカード対応の</a:t>
            </a:r>
            <a:r>
              <a:rPr lang="en-US" altLang="ja-JP" sz="120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IC</a:t>
            </a:r>
            <a:r>
              <a:rPr lang="ja-JP" altLang="en-US" sz="120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カードリーダーが必要です。</a:t>
            </a:r>
            <a:endParaRPr lang="en-US" altLang="ja-JP" sz="120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74625" indent="-174625"/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❷</a:t>
            </a:r>
            <a:r>
              <a:rPr lang="ja-JP" altLang="en-US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ログインの際に、利用者証明用電子証明書のパスワード（数字４桁）が必要です。　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　　　</a:t>
            </a:r>
            <a:endParaRPr lang="en-US" altLang="ja-JP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266700" indent="-266700"/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en-US" altLang="ja-JP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</a:t>
            </a:r>
            <a:r>
              <a:rPr lang="en-US" altLang="ja-JP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3</a:t>
            </a:r>
            <a:r>
              <a:rPr lang="ja-JP" altLang="en-US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回連続で間違えるとロックがかかって</a:t>
            </a:r>
            <a:r>
              <a:rPr lang="ja-JP" altLang="en-US" sz="1200" b="1" i="0" dirty="0" err="1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ま</a:t>
            </a:r>
            <a:r>
              <a:rPr lang="ja-JP" altLang="en-US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いますので、正しいパスワードを事前に確認してから入力してください。</a:t>
            </a:r>
            <a:endParaRPr lang="en-US" altLang="ja-JP" sz="12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200" b="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266700" indent="-266700"/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❸</a:t>
            </a:r>
            <a:r>
              <a:rPr lang="ja-JP" altLang="en-US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を正しく入力した後、マイナンバーカードをスマートフォンにかざすことでマイナポータルを利用することができます。</a:t>
            </a:r>
            <a:endParaRPr lang="en-US" altLang="ja-JP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4288353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とは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330E11E2-3449-064B-21C4-B134577C0B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7470" y="1440000"/>
            <a:ext cx="8806530" cy="1313180"/>
          </a:xfrm>
        </p:spPr>
        <p:txBody>
          <a:bodyPr wrap="square" numCol="1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マイナポータルとは</a:t>
            </a:r>
            <a:r>
              <a:rPr lang="ja-JP" altLang="en-US" sz="2000" spc="-1000" dirty="0"/>
              <a:t>、</a:t>
            </a:r>
            <a:r>
              <a:rPr lang="ja-JP" altLang="en-US" sz="2000" dirty="0"/>
              <a:t>政府が運営するオンラインサービスです。</a:t>
            </a:r>
            <a:endParaRPr lang="en-US" altLang="ja-JP" sz="20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子育てや介護をはじめとする行政サービスの検索やオンライン申請ができたり</a:t>
            </a:r>
            <a:r>
              <a:rPr lang="ja-JP" altLang="en-US" sz="2000" spc="-1000" dirty="0"/>
              <a:t>、</a:t>
            </a:r>
            <a:r>
              <a:rPr lang="ja-JP" altLang="en-US" sz="2000" dirty="0"/>
              <a:t>行政からのお知らせを受取ることができる自分専用サイトです。</a:t>
            </a:r>
            <a:endParaRPr lang="en-US" altLang="ja-JP" sz="20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en-US" altLang="ja-JP" sz="1100" dirty="0"/>
          </a:p>
        </p:txBody>
      </p:sp>
      <p:pic>
        <p:nvPicPr>
          <p:cNvPr id="12" name="図 11" descr="マイナちゃんのイラスト">
            <a:extLst>
              <a:ext uri="{FF2B5EF4-FFF2-40B4-BE49-F238E27FC236}">
                <a16:creationId xmlns:a16="http://schemas.microsoft.com/office/drawing/2014/main" id="{4A35FC13-5736-D16E-C7A6-FA7A03BA7E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4425" y="230153"/>
            <a:ext cx="649113" cy="949284"/>
          </a:xfrm>
          <a:prstGeom prst="rect">
            <a:avLst/>
          </a:prstGeom>
        </p:spPr>
      </p:pic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6DB20AF-8966-BF8A-C4DC-F581ACDE0F3D}"/>
              </a:ext>
            </a:extLst>
          </p:cNvPr>
          <p:cNvSpPr/>
          <p:nvPr/>
        </p:nvSpPr>
        <p:spPr>
          <a:xfrm>
            <a:off x="2669475" y="2765993"/>
            <a:ext cx="4032448" cy="351169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を利用するには</a:t>
            </a:r>
            <a:endParaRPr lang="en-US" altLang="ja-JP" sz="7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F3EA3936-C490-4486-9207-E158B28CF753}"/>
              </a:ext>
            </a:extLst>
          </p:cNvPr>
          <p:cNvGrpSpPr/>
          <p:nvPr/>
        </p:nvGrpSpPr>
        <p:grpSpPr>
          <a:xfrm>
            <a:off x="435499" y="2787406"/>
            <a:ext cx="1977447" cy="3348528"/>
            <a:chOff x="435499" y="2787406"/>
            <a:chExt cx="1977447" cy="3348528"/>
          </a:xfrm>
        </p:grpSpPr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DFCBFE20-BCEF-4932-8733-47A725294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9181" y="2830124"/>
              <a:ext cx="1963765" cy="3305810"/>
            </a:xfrm>
            <a:prstGeom prst="rect">
              <a:avLst/>
            </a:prstGeom>
          </p:spPr>
        </p:pic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9099AC62-440C-46B6-8485-F96CD7DF445F}"/>
                </a:ext>
              </a:extLst>
            </p:cNvPr>
            <p:cNvSpPr/>
            <p:nvPr/>
          </p:nvSpPr>
          <p:spPr>
            <a:xfrm>
              <a:off x="435499" y="2787406"/>
              <a:ext cx="1963765" cy="334852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966734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でできること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251520" y="1427535"/>
            <a:ext cx="8640961" cy="433965"/>
          </a:xfrm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altLang="ja-JP" dirty="0"/>
              <a:t>3</a:t>
            </a:r>
            <a:r>
              <a:rPr lang="ja-JP" altLang="en-US" dirty="0"/>
              <a:t>つのタブとメニューで構成されま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C4C384BB-5503-FCA8-0CAD-FCA0B920A5BB}"/>
              </a:ext>
            </a:extLst>
          </p:cNvPr>
          <p:cNvSpPr txBox="1"/>
          <p:nvPr/>
        </p:nvSpPr>
        <p:spPr>
          <a:xfrm>
            <a:off x="289098" y="2595688"/>
            <a:ext cx="2726506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自分に必要な情報へ素早くアクセス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F2F5323-166E-9E50-5F23-912E7BC1E3A1}"/>
              </a:ext>
            </a:extLst>
          </p:cNvPr>
          <p:cNvCxnSpPr>
            <a:cxnSpLocks/>
          </p:cNvCxnSpPr>
          <p:nvPr/>
        </p:nvCxnSpPr>
        <p:spPr>
          <a:xfrm>
            <a:off x="3059832" y="2276873"/>
            <a:ext cx="0" cy="4044663"/>
          </a:xfrm>
          <a:prstGeom prst="line">
            <a:avLst/>
          </a:prstGeom>
          <a:ln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コネクタ 15">
            <a:extLst>
              <a:ext uri="{FF2B5EF4-FFF2-40B4-BE49-F238E27FC236}">
                <a16:creationId xmlns:a16="http://schemas.microsoft.com/office/drawing/2014/main" id="{7BF351A0-D2CD-0B94-E3EC-D709A364BD98}"/>
              </a:ext>
            </a:extLst>
          </p:cNvPr>
          <p:cNvCxnSpPr>
            <a:cxnSpLocks/>
          </p:cNvCxnSpPr>
          <p:nvPr/>
        </p:nvCxnSpPr>
        <p:spPr>
          <a:xfrm>
            <a:off x="6084168" y="2276872"/>
            <a:ext cx="0" cy="4044664"/>
          </a:xfrm>
          <a:prstGeom prst="line">
            <a:avLst/>
          </a:prstGeom>
          <a:ln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4C9E945D-AD54-DFCD-18B8-9067FBE93C89}"/>
              </a:ext>
            </a:extLst>
          </p:cNvPr>
          <p:cNvSpPr/>
          <p:nvPr/>
        </p:nvSpPr>
        <p:spPr>
          <a:xfrm>
            <a:off x="582385" y="2132857"/>
            <a:ext cx="1936626" cy="338703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ホーム</a:t>
            </a:r>
            <a:endParaRPr lang="en-US" altLang="ja-JP" sz="8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F7E36888-0BA4-1BDE-D8C5-9CD91090CDAE}"/>
              </a:ext>
            </a:extLst>
          </p:cNvPr>
          <p:cNvSpPr/>
          <p:nvPr/>
        </p:nvSpPr>
        <p:spPr>
          <a:xfrm>
            <a:off x="3603687" y="2132857"/>
            <a:ext cx="1936626" cy="338703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やること</a:t>
            </a:r>
            <a:endParaRPr lang="en-US" altLang="ja-JP" sz="8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1" name="四角形: 角を丸くする 20">
            <a:extLst>
              <a:ext uri="{FF2B5EF4-FFF2-40B4-BE49-F238E27FC236}">
                <a16:creationId xmlns:a16="http://schemas.microsoft.com/office/drawing/2014/main" id="{539F2F30-37A9-F77B-858C-67AE313AE651}"/>
              </a:ext>
            </a:extLst>
          </p:cNvPr>
          <p:cNvSpPr/>
          <p:nvPr/>
        </p:nvSpPr>
        <p:spPr>
          <a:xfrm>
            <a:off x="6624990" y="2132857"/>
            <a:ext cx="1936626" cy="338703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さがす</a:t>
            </a:r>
            <a:endParaRPr lang="en-US" altLang="ja-JP" sz="8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58" name="図 5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77E7F21-0BC8-E6D5-9D6D-954D27CBAC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3" b="16548"/>
          <a:stretch/>
        </p:blipFill>
        <p:spPr>
          <a:xfrm>
            <a:off x="674030" y="3068960"/>
            <a:ext cx="1809738" cy="30963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4" name="図 6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4A06234-7A47-37A8-CBFD-00E84AA9F3D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3" b="16548"/>
          <a:stretch/>
        </p:blipFill>
        <p:spPr>
          <a:xfrm>
            <a:off x="6660233" y="3072842"/>
            <a:ext cx="1809737" cy="30963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6" name="図 6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51073D4-743A-203D-B22A-3327E566240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3" b="16548"/>
          <a:stretch/>
        </p:blipFill>
        <p:spPr>
          <a:xfrm>
            <a:off x="3683345" y="3068960"/>
            <a:ext cx="1809738" cy="30963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716A973A-ADEF-D156-BE81-532EEEE83468}"/>
              </a:ext>
            </a:extLst>
          </p:cNvPr>
          <p:cNvSpPr txBox="1"/>
          <p:nvPr/>
        </p:nvSpPr>
        <p:spPr>
          <a:xfrm>
            <a:off x="6230050" y="2595688"/>
            <a:ext cx="2726506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必要なサービス、手続き、情報を発見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D8D36B40-9707-3221-814A-486CBAB6C4D6}"/>
              </a:ext>
            </a:extLst>
          </p:cNvPr>
          <p:cNvSpPr txBox="1"/>
          <p:nvPr/>
        </p:nvSpPr>
        <p:spPr>
          <a:xfrm>
            <a:off x="3224961" y="2595688"/>
            <a:ext cx="2726506" cy="401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やるべきことをまとめて管理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忘れずに管理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D6E68803-FC6C-DCF0-7040-E4523900F513}"/>
              </a:ext>
            </a:extLst>
          </p:cNvPr>
          <p:cNvSpPr/>
          <p:nvPr/>
        </p:nvSpPr>
        <p:spPr>
          <a:xfrm>
            <a:off x="791580" y="5868035"/>
            <a:ext cx="396044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0" name="正方形/長方形 69">
            <a:extLst>
              <a:ext uri="{FF2B5EF4-FFF2-40B4-BE49-F238E27FC236}">
                <a16:creationId xmlns:a16="http://schemas.microsoft.com/office/drawing/2014/main" id="{7D5C168C-2FD6-A6CA-E0FD-E4D3D2F0DE54}"/>
              </a:ext>
            </a:extLst>
          </p:cNvPr>
          <p:cNvSpPr/>
          <p:nvPr/>
        </p:nvSpPr>
        <p:spPr>
          <a:xfrm>
            <a:off x="4404104" y="5877272"/>
            <a:ext cx="396044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1" name="正方形/長方形 70">
            <a:extLst>
              <a:ext uri="{FF2B5EF4-FFF2-40B4-BE49-F238E27FC236}">
                <a16:creationId xmlns:a16="http://schemas.microsoft.com/office/drawing/2014/main" id="{35308DFA-3B72-C185-81E0-56C8DA14B5C8}"/>
              </a:ext>
            </a:extLst>
          </p:cNvPr>
          <p:cNvSpPr/>
          <p:nvPr/>
        </p:nvSpPr>
        <p:spPr>
          <a:xfrm>
            <a:off x="7956284" y="5877272"/>
            <a:ext cx="396044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282976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の利用の手順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600" y="1383159"/>
            <a:ext cx="7750840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次ページから</a:t>
            </a:r>
            <a:r>
              <a:rPr lang="ja-JP" altLang="en-US" spc="-1000" dirty="0"/>
              <a:t>、</a:t>
            </a:r>
            <a:r>
              <a:rPr lang="ja-JP" altLang="en-US" dirty="0"/>
              <a:t>以下の順番で操作のご説明いた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</a:p>
        </p:txBody>
      </p:sp>
      <p:sp>
        <p:nvSpPr>
          <p:cNvPr id="7" name="正方形/長方形 6"/>
          <p:cNvSpPr/>
          <p:nvPr/>
        </p:nvSpPr>
        <p:spPr>
          <a:xfrm>
            <a:off x="1872192" y="2135907"/>
            <a:ext cx="6660000" cy="126000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/>
          <p:cNvSpPr/>
          <p:nvPr/>
        </p:nvSpPr>
        <p:spPr>
          <a:xfrm>
            <a:off x="621749" y="1898829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正方形/長方形 8"/>
          <p:cNvSpPr/>
          <p:nvPr/>
        </p:nvSpPr>
        <p:spPr>
          <a:xfrm>
            <a:off x="1873540" y="3784802"/>
            <a:ext cx="6660000" cy="126000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1882910" y="2533111"/>
            <a:ext cx="6845869" cy="70788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ポータルアプリのインストール</a:t>
            </a:r>
          </a:p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ポータルにログイ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ン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利用者証明用電子証明書の認証）</a:t>
            </a:r>
            <a:endParaRPr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>
          <a:xfrm>
            <a:off x="633745" y="1976506"/>
            <a:ext cx="3564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rPr>
              <a:t>マイナポータル利用準備</a:t>
            </a: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1882909" y="4181847"/>
            <a:ext cx="66411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健康保険証利用の登録と公金受取口座の登録をしてみましょう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264E6EE-5DD0-4D4D-A139-C52FD7846B6B}"/>
              </a:ext>
            </a:extLst>
          </p:cNvPr>
          <p:cNvGrpSpPr/>
          <p:nvPr/>
        </p:nvGrpSpPr>
        <p:grpSpPr>
          <a:xfrm>
            <a:off x="633745" y="3541743"/>
            <a:ext cx="5401726" cy="540000"/>
            <a:chOff x="621371" y="3910549"/>
            <a:chExt cx="5401726" cy="540000"/>
          </a:xfrm>
        </p:grpSpPr>
        <p:sp>
          <p:nvSpPr>
            <p:cNvPr id="10" name="正方形/長方形 9"/>
            <p:cNvSpPr/>
            <p:nvPr/>
          </p:nvSpPr>
          <p:spPr>
            <a:xfrm>
              <a:off x="623097" y="3910549"/>
              <a:ext cx="5400000" cy="540000"/>
            </a:xfrm>
            <a:prstGeom prst="rect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/>
            <p:cNvSpPr txBox="1"/>
            <p:nvPr/>
          </p:nvSpPr>
          <p:spPr>
            <a:xfrm>
              <a:off x="621371" y="3986108"/>
              <a:ext cx="540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マイナポータルのサービスの利用</a:t>
              </a:r>
            </a:p>
          </p:txBody>
        </p:sp>
      </p:grpSp>
      <p:pic>
        <p:nvPicPr>
          <p:cNvPr id="20" name="図 19" descr="いいねをするマイナちゃんのイラスト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985" y="4480733"/>
            <a:ext cx="1164426" cy="1492777"/>
          </a:xfrm>
          <a:prstGeom prst="rect">
            <a:avLst/>
          </a:prstGeom>
        </p:spPr>
      </p:pic>
      <p:sp>
        <p:nvSpPr>
          <p:cNvPr id="21" name="矢印: 下 20">
            <a:extLst>
              <a:ext uri="{FF2B5EF4-FFF2-40B4-BE49-F238E27FC236}">
                <a16:creationId xmlns:a16="http://schemas.microsoft.com/office/drawing/2014/main" id="{1C4D8A37-EFD2-4BB1-9FEE-F5E0996849AD}"/>
              </a:ext>
            </a:extLst>
          </p:cNvPr>
          <p:cNvSpPr/>
          <p:nvPr/>
        </p:nvSpPr>
        <p:spPr>
          <a:xfrm>
            <a:off x="899592" y="2510045"/>
            <a:ext cx="484632" cy="846947"/>
          </a:xfrm>
          <a:prstGeom prst="downArrow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3052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7723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マイナポータル利用の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準備をしましょう</a:t>
            </a:r>
          </a:p>
        </p:txBody>
      </p:sp>
      <p:pic>
        <p:nvPicPr>
          <p:cNvPr id="5" name="図 4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6970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89506"/>
            <a:ext cx="6886822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アプリの入手 および</a:t>
            </a:r>
            <a:br>
              <a:rPr lang="en-US" altLang="ja-JP" dirty="0"/>
            </a:br>
            <a:r>
              <a:rPr lang="ja-JP" altLang="en-US" dirty="0"/>
              <a:t>インストールのしかた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A0D5277-FC88-45C0-8B9E-C1A538617A34}"/>
              </a:ext>
            </a:extLst>
          </p:cNvPr>
          <p:cNvSpPr txBox="1"/>
          <p:nvPr/>
        </p:nvSpPr>
        <p:spPr>
          <a:xfrm>
            <a:off x="5868144" y="813308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＜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＞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92500" lnSpcReduction="20000"/>
          </a:bodyPr>
          <a:lstStyle/>
          <a:p>
            <a:r>
              <a:rPr lang="ja-JP" altLang="en-US" sz="2600" dirty="0"/>
              <a:t>マイナポータルアプリ</a:t>
            </a:r>
            <a:r>
              <a:rPr lang="ja-JP" altLang="en-US" sz="1700" dirty="0"/>
              <a:t>＜デジタル庁＞</a:t>
            </a:r>
            <a:r>
              <a:rPr lang="ja-JP" altLang="en-US" sz="2600" dirty="0"/>
              <a:t>をインストールします。</a:t>
            </a:r>
          </a:p>
          <a:p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FFAE51B1-BC2A-9C64-D0A1-18033CF25FBF}"/>
              </a:ext>
            </a:extLst>
          </p:cNvPr>
          <p:cNvGrpSpPr>
            <a:grpSpLocks noChangeAspect="1"/>
          </p:cNvGrpSpPr>
          <p:nvPr/>
        </p:nvGrpSpPr>
        <p:grpSpPr>
          <a:xfrm>
            <a:off x="6305772" y="2852936"/>
            <a:ext cx="3090974" cy="3090974"/>
            <a:chOff x="8479999" y="-76403"/>
            <a:chExt cx="3839735" cy="3839735"/>
          </a:xfrm>
        </p:grpSpPr>
        <p:pic>
          <p:nvPicPr>
            <p:cNvPr id="11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098934A4-23A0-B78A-7BA2-37A8F5837B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479999" y="-76403"/>
              <a:ext cx="3839735" cy="3839735"/>
            </a:xfrm>
            <a:prstGeom prst="rect">
              <a:avLst/>
            </a:prstGeom>
          </p:spPr>
        </p:pic>
        <p:pic>
          <p:nvPicPr>
            <p:cNvPr id="13" name="図 6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587823BC-C5B4-65CB-5E6D-662E1F5C2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2341" y="206868"/>
              <a:ext cx="1534337" cy="3204117"/>
            </a:xfrm>
            <a:prstGeom prst="rect">
              <a:avLst/>
            </a:prstGeom>
          </p:spPr>
        </p:pic>
      </p:grpSp>
      <p:pic>
        <p:nvPicPr>
          <p:cNvPr id="22" name="図 2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804623F-E394-E4A1-7F8C-87A7471E94C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3403" y="3094360"/>
            <a:ext cx="1235137" cy="2566341"/>
          </a:xfrm>
          <a:prstGeom prst="rect">
            <a:avLst/>
          </a:prstGeom>
        </p:spPr>
      </p:pic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E82C79A-9955-0362-1871-46AD3F4CB294}"/>
              </a:ext>
            </a:extLst>
          </p:cNvPr>
          <p:cNvSpPr txBox="1"/>
          <p:nvPr/>
        </p:nvSpPr>
        <p:spPr>
          <a:xfrm>
            <a:off x="2480070" y="5157192"/>
            <a:ext cx="489909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01613" indent="-201613"/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 マイナポータルアプリ＜デジタル庁＞が見つからない場合は、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OS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Android 6.0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、ブラウザ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Chrome 69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の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条件を満たしていない可能性があります。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バージョンアップしてから再度、インストールしてください。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pPr marL="201613" indent="-201613"/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サイトへ接続するため別途通信料がかかることがあります。</a:t>
            </a:r>
          </a:p>
          <a:p>
            <a:pPr marL="201613" indent="-201613"/>
            <a:endParaRPr lang="ja-JP" altLang="en-US" sz="1200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AE38EC13-F95C-D09B-B7D9-A7B30B149529}"/>
              </a:ext>
            </a:extLst>
          </p:cNvPr>
          <p:cNvGrpSpPr>
            <a:grpSpLocks noChangeAspect="1"/>
          </p:cNvGrpSpPr>
          <p:nvPr/>
        </p:nvGrpSpPr>
        <p:grpSpPr>
          <a:xfrm>
            <a:off x="-180528" y="2852936"/>
            <a:ext cx="3090974" cy="3090974"/>
            <a:chOff x="8479999" y="-76403"/>
            <a:chExt cx="3839735" cy="3839735"/>
          </a:xfrm>
        </p:grpSpPr>
        <p:pic>
          <p:nvPicPr>
            <p:cNvPr id="26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1279B8A3-5212-5AEC-8A91-A0D4422A7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479999" y="-76403"/>
              <a:ext cx="3839735" cy="3839735"/>
            </a:xfrm>
            <a:prstGeom prst="rect">
              <a:avLst/>
            </a:prstGeom>
          </p:spPr>
        </p:pic>
        <p:pic>
          <p:nvPicPr>
            <p:cNvPr id="27" name="図 6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1F63E5DE-3317-E8E3-23B3-C6A916CFA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2341" y="206868"/>
              <a:ext cx="1534337" cy="3204117"/>
            </a:xfrm>
            <a:prstGeom prst="rect">
              <a:avLst/>
            </a:prstGeom>
          </p:spPr>
        </p:pic>
      </p:grp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5BB6BE51-A21F-0990-9EBD-16A66A8C7C40}"/>
              </a:ext>
            </a:extLst>
          </p:cNvPr>
          <p:cNvSpPr txBox="1"/>
          <p:nvPr/>
        </p:nvSpPr>
        <p:spPr>
          <a:xfrm>
            <a:off x="107504" y="1963358"/>
            <a:ext cx="647342" cy="614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762E46A1-C032-8420-682A-CA318AD18374}"/>
              </a:ext>
            </a:extLst>
          </p:cNvPr>
          <p:cNvSpPr/>
          <p:nvPr/>
        </p:nvSpPr>
        <p:spPr>
          <a:xfrm>
            <a:off x="1059791" y="4596281"/>
            <a:ext cx="2916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E5432513-CAD9-5D93-6650-A885767177A5}"/>
              </a:ext>
            </a:extLst>
          </p:cNvPr>
          <p:cNvGrpSpPr>
            <a:grpSpLocks noChangeAspect="1"/>
          </p:cNvGrpSpPr>
          <p:nvPr/>
        </p:nvGrpSpPr>
        <p:grpSpPr>
          <a:xfrm>
            <a:off x="1628562" y="3100519"/>
            <a:ext cx="3807534" cy="1903767"/>
            <a:chOff x="2478172" y="2605353"/>
            <a:chExt cx="3090974" cy="1545487"/>
          </a:xfrm>
        </p:grpSpPr>
        <p:pic>
          <p:nvPicPr>
            <p:cNvPr id="32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D9182352-4CBC-A7D6-68C6-9ABD33915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50000"/>
            <a:stretch/>
          </p:blipFill>
          <p:spPr>
            <a:xfrm>
              <a:off x="2478172" y="2605353"/>
              <a:ext cx="3090974" cy="1545487"/>
            </a:xfrm>
            <a:prstGeom prst="rect">
              <a:avLst/>
            </a:prstGeom>
          </p:spPr>
        </p:pic>
        <p:grpSp>
          <p:nvGrpSpPr>
            <p:cNvPr id="33" name="グループ化 32">
              <a:extLst>
                <a:ext uri="{FF2B5EF4-FFF2-40B4-BE49-F238E27FC236}">
                  <a16:creationId xmlns:a16="http://schemas.microsoft.com/office/drawing/2014/main" id="{74CF5342-80E1-9CD1-85BB-D1FA1287FED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88761" y="2818726"/>
              <a:ext cx="1252179" cy="1332113"/>
              <a:chOff x="4943006" y="2833384"/>
              <a:chExt cx="1313628" cy="1397485"/>
            </a:xfrm>
          </p:grpSpPr>
          <p:pic>
            <p:nvPicPr>
              <p:cNvPr id="36" name="図 35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AE4082E1-80BC-18AA-3BCD-A1B3730B111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065" b="47838"/>
              <a:stretch/>
            </p:blipFill>
            <p:spPr>
              <a:xfrm>
                <a:off x="4943718" y="2833384"/>
                <a:ext cx="1312916" cy="1397485"/>
              </a:xfrm>
              <a:prstGeom prst="rect">
                <a:avLst/>
              </a:prstGeom>
            </p:spPr>
          </p:pic>
          <p:pic>
            <p:nvPicPr>
              <p:cNvPr id="41" name="図 40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E48BCA4B-9906-824A-0FC3-AA911C1EC83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sharpenSoften amount="-8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7377" b="47704"/>
              <a:stretch/>
            </p:blipFill>
            <p:spPr>
              <a:xfrm>
                <a:off x="4943006" y="3236952"/>
                <a:ext cx="1312916" cy="993917"/>
              </a:xfrm>
              <a:prstGeom prst="rect">
                <a:avLst/>
              </a:prstGeom>
            </p:spPr>
          </p:pic>
        </p:grpSp>
      </p:grp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3B8EE1B0-340C-1027-E44F-3D3842163D99}"/>
              </a:ext>
            </a:extLst>
          </p:cNvPr>
          <p:cNvSpPr/>
          <p:nvPr/>
        </p:nvSpPr>
        <p:spPr>
          <a:xfrm>
            <a:off x="2734007" y="3333600"/>
            <a:ext cx="10575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25D5E9FF-AE74-576C-AC6D-8A9972543758}"/>
              </a:ext>
            </a:extLst>
          </p:cNvPr>
          <p:cNvSpPr txBox="1"/>
          <p:nvPr/>
        </p:nvSpPr>
        <p:spPr>
          <a:xfrm>
            <a:off x="2267744" y="1963358"/>
            <a:ext cx="2354530" cy="614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検索ボックス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BABD2E72-2257-9F93-E8E4-EDC8D2797B30}"/>
              </a:ext>
            </a:extLst>
          </p:cNvPr>
          <p:cNvSpPr txBox="1"/>
          <p:nvPr/>
        </p:nvSpPr>
        <p:spPr>
          <a:xfrm>
            <a:off x="4449547" y="1922609"/>
            <a:ext cx="2394665" cy="942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マイナポータル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と入力して検索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47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B00ABCEB-FB94-FCAA-A91C-35074B99D2F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0000"/>
          <a:stretch/>
        </p:blipFill>
        <p:spPr>
          <a:xfrm>
            <a:off x="3779912" y="3100519"/>
            <a:ext cx="3807534" cy="1903767"/>
          </a:xfrm>
          <a:prstGeom prst="rect">
            <a:avLst/>
          </a:prstGeom>
        </p:spPr>
      </p:pic>
      <p:pic>
        <p:nvPicPr>
          <p:cNvPr id="48" name="図 47">
            <a:extLst>
              <a:ext uri="{FF2B5EF4-FFF2-40B4-BE49-F238E27FC236}">
                <a16:creationId xmlns:a16="http://schemas.microsoft.com/office/drawing/2014/main" id="{83139204-835E-24E3-D5FA-ABC11712B25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482" t="5343" r="15773" b="27506"/>
          <a:stretch/>
        </p:blipFill>
        <p:spPr>
          <a:xfrm>
            <a:off x="779359" y="2508200"/>
            <a:ext cx="294545" cy="306086"/>
          </a:xfrm>
          <a:prstGeom prst="ellips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3D1406B0-BD73-EA63-7CE1-87E45FD99795}"/>
              </a:ext>
            </a:extLst>
          </p:cNvPr>
          <p:cNvSpPr txBox="1"/>
          <p:nvPr/>
        </p:nvSpPr>
        <p:spPr>
          <a:xfrm>
            <a:off x="6660232" y="1922609"/>
            <a:ext cx="22943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インストール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spc="-75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　　　　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0" name="図形グループ 57">
            <a:extLst>
              <a:ext uri="{FF2B5EF4-FFF2-40B4-BE49-F238E27FC236}">
                <a16:creationId xmlns:a16="http://schemas.microsoft.com/office/drawing/2014/main" id="{C4511FE8-143D-0867-49F9-87BE8C34EED5}"/>
              </a:ext>
            </a:extLst>
          </p:cNvPr>
          <p:cNvGrpSpPr/>
          <p:nvPr/>
        </p:nvGrpSpPr>
        <p:grpSpPr>
          <a:xfrm>
            <a:off x="2473294" y="3148205"/>
            <a:ext cx="492443" cy="461665"/>
            <a:chOff x="7516281" y="2673548"/>
            <a:chExt cx="492443" cy="461665"/>
          </a:xfrm>
        </p:grpSpPr>
        <p:sp>
          <p:nvSpPr>
            <p:cNvPr id="51" name="円/楕円 59">
              <a:extLst>
                <a:ext uri="{FF2B5EF4-FFF2-40B4-BE49-F238E27FC236}">
                  <a16:creationId xmlns:a16="http://schemas.microsoft.com/office/drawing/2014/main" id="{DBBC805F-46C4-5B9D-1188-F56606319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5A704D31-10E5-CAF2-EA1E-900BF1882E55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55" name="図 54" descr="検索画面に「マイナポータル」と入力する時の画面の画像">
            <a:extLst>
              <a:ext uri="{FF2B5EF4-FFF2-40B4-BE49-F238E27FC236}">
                <a16:creationId xmlns:a16="http://schemas.microsoft.com/office/drawing/2014/main" id="{890063FA-3836-C672-C58A-8F71C0F1499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18" t="2254" r="2579"/>
          <a:stretch/>
        </p:blipFill>
        <p:spPr>
          <a:xfrm>
            <a:off x="4923245" y="3393992"/>
            <a:ext cx="1537417" cy="1603938"/>
          </a:xfrm>
          <a:prstGeom prst="rect">
            <a:avLst/>
          </a:prstGeom>
          <a:ln w="9525">
            <a:solidFill>
              <a:schemeClr val="bg1">
                <a:lumMod val="95000"/>
              </a:schemeClr>
            </a:solidFill>
          </a:ln>
        </p:spPr>
      </p:pic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F3927583-56CD-5AF7-E083-640E9A912E93}"/>
              </a:ext>
            </a:extLst>
          </p:cNvPr>
          <p:cNvSpPr/>
          <p:nvPr/>
        </p:nvSpPr>
        <p:spPr>
          <a:xfrm>
            <a:off x="4923246" y="3333600"/>
            <a:ext cx="1499228" cy="2524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7" name="グループ化 56">
            <a:extLst>
              <a:ext uri="{FF2B5EF4-FFF2-40B4-BE49-F238E27FC236}">
                <a16:creationId xmlns:a16="http://schemas.microsoft.com/office/drawing/2014/main" id="{8B6E9641-0666-6FBA-A632-291507F555FD}"/>
              </a:ext>
            </a:extLst>
          </p:cNvPr>
          <p:cNvGrpSpPr/>
          <p:nvPr/>
        </p:nvGrpSpPr>
        <p:grpSpPr>
          <a:xfrm>
            <a:off x="4766290" y="3154516"/>
            <a:ext cx="492444" cy="461665"/>
            <a:chOff x="10718372" y="2977010"/>
            <a:chExt cx="492444" cy="461665"/>
          </a:xfrm>
        </p:grpSpPr>
        <p:sp>
          <p:nvSpPr>
            <p:cNvPr id="69" name="円/楕円 40">
              <a:extLst>
                <a:ext uri="{FF2B5EF4-FFF2-40B4-BE49-F238E27FC236}">
                  <a16:creationId xmlns:a16="http://schemas.microsoft.com/office/drawing/2014/main" id="{63C867A1-CD8C-988E-C537-9AE56D8C2C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0" name="図形グループ 39">
              <a:extLst>
                <a:ext uri="{FF2B5EF4-FFF2-40B4-BE49-F238E27FC236}">
                  <a16:creationId xmlns:a16="http://schemas.microsoft.com/office/drawing/2014/main" id="{7DC35127-9723-96A9-25DF-81F609E9F83F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1" name="円/楕円 44">
                <a:extLst>
                  <a:ext uri="{FF2B5EF4-FFF2-40B4-BE49-F238E27FC236}">
                    <a16:creationId xmlns:a16="http://schemas.microsoft.com/office/drawing/2014/main" id="{440BF093-B1DE-9C70-1300-4FFB2C0F674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2" name="正方形/長方形 71">
                <a:extLst>
                  <a:ext uri="{FF2B5EF4-FFF2-40B4-BE49-F238E27FC236}">
                    <a16:creationId xmlns:a16="http://schemas.microsoft.com/office/drawing/2014/main" id="{337A02C8-5FF3-DD87-ACF6-B9D786E86575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73" name="正方形/長方形 72">
            <a:extLst>
              <a:ext uri="{FF2B5EF4-FFF2-40B4-BE49-F238E27FC236}">
                <a16:creationId xmlns:a16="http://schemas.microsoft.com/office/drawing/2014/main" id="{1B4FB388-D0F2-3E14-4FDA-2A83300997B9}"/>
              </a:ext>
            </a:extLst>
          </p:cNvPr>
          <p:cNvSpPr/>
          <p:nvPr/>
        </p:nvSpPr>
        <p:spPr>
          <a:xfrm>
            <a:off x="7233402" y="3744366"/>
            <a:ext cx="1235138" cy="26069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4" name="図形グループ 36">
            <a:extLst>
              <a:ext uri="{FF2B5EF4-FFF2-40B4-BE49-F238E27FC236}">
                <a16:creationId xmlns:a16="http://schemas.microsoft.com/office/drawing/2014/main" id="{BAFCD004-7FCE-6CE6-2646-D04D81E42EF3}"/>
              </a:ext>
            </a:extLst>
          </p:cNvPr>
          <p:cNvGrpSpPr/>
          <p:nvPr/>
        </p:nvGrpSpPr>
        <p:grpSpPr>
          <a:xfrm>
            <a:off x="6844212" y="3678402"/>
            <a:ext cx="492443" cy="461665"/>
            <a:chOff x="7516281" y="2673548"/>
            <a:chExt cx="492443" cy="461665"/>
          </a:xfrm>
        </p:grpSpPr>
        <p:sp>
          <p:nvSpPr>
            <p:cNvPr id="75" name="円/楕円 37">
              <a:extLst>
                <a:ext uri="{FF2B5EF4-FFF2-40B4-BE49-F238E27FC236}">
                  <a16:creationId xmlns:a16="http://schemas.microsoft.com/office/drawing/2014/main" id="{2B987D13-BE0F-935B-8AD1-EEAA1AEE7A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正方形/長方形 75">
              <a:extLst>
                <a:ext uri="{FF2B5EF4-FFF2-40B4-BE49-F238E27FC236}">
                  <a16:creationId xmlns:a16="http://schemas.microsoft.com/office/drawing/2014/main" id="{2CA3A579-5E2E-7D67-0047-116BF05D17B9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77" name="図形グループ 79">
            <a:extLst>
              <a:ext uri="{FF2B5EF4-FFF2-40B4-BE49-F238E27FC236}">
                <a16:creationId xmlns:a16="http://schemas.microsoft.com/office/drawing/2014/main" id="{E7714500-7447-8523-6811-A1E55C01E557}"/>
              </a:ext>
            </a:extLst>
          </p:cNvPr>
          <p:cNvGrpSpPr/>
          <p:nvPr/>
        </p:nvGrpSpPr>
        <p:grpSpPr>
          <a:xfrm>
            <a:off x="755576" y="4402125"/>
            <a:ext cx="492443" cy="461665"/>
            <a:chOff x="7516281" y="2673548"/>
            <a:chExt cx="492443" cy="461665"/>
          </a:xfrm>
        </p:grpSpPr>
        <p:sp>
          <p:nvSpPr>
            <p:cNvPr id="78" name="円/楕円 80">
              <a:extLst>
                <a:ext uri="{FF2B5EF4-FFF2-40B4-BE49-F238E27FC236}">
                  <a16:creationId xmlns:a16="http://schemas.microsoft.com/office/drawing/2014/main" id="{21BF11CA-3187-A4B6-F03B-A7C3AE02AE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9" name="正方形/長方形 78">
              <a:extLst>
                <a:ext uri="{FF2B5EF4-FFF2-40B4-BE49-F238E27FC236}">
                  <a16:creationId xmlns:a16="http://schemas.microsoft.com/office/drawing/2014/main" id="{0F093C28-D387-FC4F-F9FD-B3A22EAD5BCB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BEA0750F-A30F-ECBE-8AA6-09B979EA6DA4}"/>
              </a:ext>
            </a:extLst>
          </p:cNvPr>
          <p:cNvSpPr txBox="1"/>
          <p:nvPr/>
        </p:nvSpPr>
        <p:spPr>
          <a:xfrm>
            <a:off x="467544" y="1898829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Play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ストア」　　「　 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81" name="図 80">
            <a:extLst>
              <a:ext uri="{FF2B5EF4-FFF2-40B4-BE49-F238E27FC236}">
                <a16:creationId xmlns:a16="http://schemas.microsoft.com/office/drawing/2014/main" id="{8DA52EAA-FC2C-154F-E761-361B18910DC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7404" y="3867480"/>
            <a:ext cx="155644" cy="127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2532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a3e5486-f565-4b70-b8cd-b2580fa9650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AFCB8437B1E864684E74153A94D7C50" ma:contentTypeVersion="13" ma:contentTypeDescription="新しいドキュメントを作成します。" ma:contentTypeScope="" ma:versionID="34509c85802fcbb7e6fc7de0cf0697de">
  <xsd:schema xmlns:xsd="http://www.w3.org/2001/XMLSchema" xmlns:xs="http://www.w3.org/2001/XMLSchema" xmlns:p="http://schemas.microsoft.com/office/2006/metadata/properties" xmlns:ns2="aa3e5486-f565-4b70-b8cd-b2580fa9650e" xmlns:ns3="51481485-1342-441f-aecd-49153fe587bb" targetNamespace="http://schemas.microsoft.com/office/2006/metadata/properties" ma:root="true" ma:fieldsID="00fd17a001effaa86fff4bd46e317877" ns2:_="" ns3:_="">
    <xsd:import namespace="aa3e5486-f565-4b70-b8cd-b2580fa9650e"/>
    <xsd:import namespace="51481485-1342-441f-aecd-49153fe587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3e5486-f565-4b70-b8cd-b2580fa965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画像タグ" ma:readOnly="false" ma:fieldId="{5cf76f15-5ced-4ddc-b409-7134ff3c332f}" ma:taxonomyMulti="true" ma:sspId="4fc079cf-368d-4738-8e08-a0b0e68d1a9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481485-1342-441f-aecd-49153fe587b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5E8405-322E-4A13-8E84-4ADFD06B1E2F}">
  <ds:schemaRefs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1ccc0202-570a-4c76-b717-959d73301744"/>
    <ds:schemaRef ds:uri="http://schemas.microsoft.com/office/2006/metadata/properties"/>
    <ds:schemaRef ds:uri="aa3e5486-f565-4b70-b8cd-b2580fa9650e"/>
  </ds:schemaRefs>
</ds:datastoreItem>
</file>

<file path=customXml/itemProps2.xml><?xml version="1.0" encoding="utf-8"?>
<ds:datastoreItem xmlns:ds="http://schemas.openxmlformats.org/officeDocument/2006/customXml" ds:itemID="{6D7F8FE1-4434-4E62-9961-999C052E8A1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8592AC4-CAD8-40F8-BDBD-95C0333FBA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3e5486-f565-4b70-b8cd-b2580fa9650e"/>
    <ds:schemaRef ds:uri="51481485-1342-441f-aecd-49153fe587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183</Words>
  <Application>Microsoft Office PowerPoint</Application>
  <PresentationFormat>画面に合わせる (4:3)</PresentationFormat>
  <Paragraphs>539</Paragraphs>
  <Slides>39</Slides>
  <Notes>39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3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9</vt:i4>
      </vt:variant>
    </vt:vector>
  </HeadingPairs>
  <TitlesOfParts>
    <vt:vector size="55" baseType="lpstr">
      <vt:lpstr>AoyagiKouzanFontT</vt:lpstr>
      <vt:lpstr>BIZ UDPゴシック</vt:lpstr>
      <vt:lpstr>Meiryo UI</vt:lpstr>
      <vt:lpstr>Noto Sans JP</vt:lpstr>
      <vt:lpstr>Meiryo</vt:lpstr>
      <vt:lpstr>Meiryo</vt:lpstr>
      <vt:lpstr>Yu Gothic</vt:lpstr>
      <vt:lpstr>Yu Gothic</vt:lpstr>
      <vt:lpstr>游ゴシック Light</vt:lpstr>
      <vt:lpstr>Arial</vt:lpstr>
      <vt:lpstr>Calibri</vt:lpstr>
      <vt:lpstr>Calibri Light</vt:lpstr>
      <vt:lpstr>Times New Roman</vt:lpstr>
      <vt:lpstr>ホワイト</vt:lpstr>
      <vt:lpstr>1_ホワイト</vt:lpstr>
      <vt:lpstr>think-cell スライド</vt:lpstr>
      <vt:lpstr>PowerPoint プレゼンテーション</vt:lpstr>
      <vt:lpstr>マイナンバーカードで暮らしを便利に</vt:lpstr>
      <vt:lpstr>PowerPoint プレゼンテーション</vt:lpstr>
      <vt:lpstr>PowerPoint プレゼンテーション</vt:lpstr>
      <vt:lpstr>マイナポータルとは？</vt:lpstr>
      <vt:lpstr>マイナポータルでできること</vt:lpstr>
      <vt:lpstr>マイナポータルの利用の手順</vt:lpstr>
      <vt:lpstr>PowerPoint プレゼンテーション</vt:lpstr>
      <vt:lpstr>マイナポータルアプリの入手 および インストールのしかた</vt:lpstr>
      <vt:lpstr>マイナポータルアプリの入手 および インストールのしかた</vt:lpstr>
      <vt:lpstr>マイナポータルにログイン</vt:lpstr>
      <vt:lpstr>マイナポータルにログイン</vt:lpstr>
      <vt:lpstr>マイナポータルにログイン</vt:lpstr>
      <vt:lpstr>マイナポータルに関する確認サイト</vt:lpstr>
      <vt:lpstr>PowerPoint プレゼンテーション</vt:lpstr>
      <vt:lpstr>マイナンバーカードを健康保険証として 使うとなにがいいの？</vt:lpstr>
      <vt:lpstr>マイナンバーカードを健康保険証として 使うとなにがいいの？</vt:lpstr>
      <vt:lpstr>マイナンバーカードを健康保険証として 使うとなにがいいの？</vt:lpstr>
      <vt:lpstr>マイナンバーカードを健康保険証として 使うとなにがいいの？</vt:lpstr>
      <vt:lpstr>健康保険証利用の申込のしかた</vt:lpstr>
      <vt:lpstr>健康保険証利用の申込のしかた</vt:lpstr>
      <vt:lpstr>健康保険証利用の申込のしかた</vt:lpstr>
      <vt:lpstr>健康保険証利用の申込のしかた</vt:lpstr>
      <vt:lpstr>マイナ保険証の利用のしかた</vt:lpstr>
      <vt:lpstr>マイナ保険証の利用のしかた</vt:lpstr>
      <vt:lpstr>マイナ保険証の利用のしかた</vt:lpstr>
      <vt:lpstr>マイナ保険証の利用のしかた</vt:lpstr>
      <vt:lpstr>健康保険証の利用のしかた</vt:lpstr>
      <vt:lpstr>PowerPoint プレゼンテーション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登録制度の詳細や 登録が可能な金融機関の確認方法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/>
  <cp:lastModifiedBy/>
  <cp:revision>44</cp:revision>
  <dcterms:created xsi:type="dcterms:W3CDTF">2021-08-16T09:05:36Z</dcterms:created>
  <dcterms:modified xsi:type="dcterms:W3CDTF">2024-03-21T05:3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FCB8437B1E864684E74153A94D7C50</vt:lpwstr>
  </property>
  <property fmtid="{D5CDD505-2E9C-101B-9397-08002B2CF9AE}" pid="3" name="Order">
    <vt:lpwstr>105800.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</Properties>
</file>